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35"/>
  </p:notesMasterIdLst>
  <p:handoutMasterIdLst>
    <p:handoutMasterId r:id="rId36"/>
  </p:handoutMasterIdLst>
  <p:sldIdLst>
    <p:sldId id="1245" r:id="rId2"/>
    <p:sldId id="1206" r:id="rId3"/>
    <p:sldId id="1244" r:id="rId4"/>
    <p:sldId id="1208" r:id="rId5"/>
    <p:sldId id="1209" r:id="rId6"/>
    <p:sldId id="1240" r:id="rId7"/>
    <p:sldId id="1258" r:id="rId8"/>
    <p:sldId id="1168" r:id="rId9"/>
    <p:sldId id="322" r:id="rId10"/>
    <p:sldId id="1191" r:id="rId11"/>
    <p:sldId id="1230" r:id="rId12"/>
    <p:sldId id="1282" r:id="rId13"/>
    <p:sldId id="1276" r:id="rId14"/>
    <p:sldId id="1277" r:id="rId15"/>
    <p:sldId id="1278" r:id="rId16"/>
    <p:sldId id="1279" r:id="rId17"/>
    <p:sldId id="1280" r:id="rId18"/>
    <p:sldId id="1281" r:id="rId19"/>
    <p:sldId id="1259" r:id="rId20"/>
    <p:sldId id="1260" r:id="rId21"/>
    <p:sldId id="1261" r:id="rId22"/>
    <p:sldId id="1262" r:id="rId23"/>
    <p:sldId id="1263" r:id="rId24"/>
    <p:sldId id="1264" r:id="rId25"/>
    <p:sldId id="1265" r:id="rId26"/>
    <p:sldId id="1266" r:id="rId27"/>
    <p:sldId id="1283" r:id="rId28"/>
    <p:sldId id="1284" r:id="rId29"/>
    <p:sldId id="1269" r:id="rId30"/>
    <p:sldId id="1270" r:id="rId31"/>
    <p:sldId id="1271" r:id="rId32"/>
    <p:sldId id="1272" r:id="rId33"/>
    <p:sldId id="1273" r:id="rId34"/>
  </p:sldIdLst>
  <p:sldSz cx="9144000" cy="5143500" type="screen16x9"/>
  <p:notesSz cx="6858000" cy="9926638"/>
  <p:embeddedFontLst>
    <p:embeddedFont>
      <p:font typeface="Helvetica" panose="020B0604020202020204" pitchFamily="34" charset="0"/>
      <p:regular r:id="rId37"/>
      <p:bold r:id="rId38"/>
      <p:italic r:id="rId39"/>
      <p:boldItalic r:id="rId40"/>
    </p:embeddedFont>
    <p:embeddedFont>
      <p:font typeface="Merriweather" panose="020B0604020202020204" charset="0"/>
      <p:regular r:id="rId41"/>
      <p:bold r:id="rId42"/>
      <p:italic r:id="rId43"/>
      <p:boldItalic r:id="rId44"/>
    </p:embeddedFont>
    <p:embeddedFont>
      <p:font typeface="Calibri" panose="020F0502020204030204" pitchFamily="34" charset="0"/>
      <p:regular r:id="rId45"/>
      <p:bold r:id="rId46"/>
      <p:italic r:id="rId47"/>
      <p:boldItalic r:id="rId48"/>
    </p:embeddedFont>
    <p:embeddedFont>
      <p:font typeface="Roboto" panose="020B0604020202020204" charset="0"/>
      <p:regular r:id="rId49"/>
      <p:bold r:id="rId50"/>
      <p:italic r:id="rId51"/>
      <p:boldItalic r:id="rId5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8F00"/>
    <a:srgbClr val="009051"/>
    <a:srgbClr val="AE61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5ADC69D-46D1-4933-A194-974388D649E3}">
  <a:tblStyle styleId="{D5ADC69D-46D1-4933-A194-974388D649E3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–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Light Style 1 –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–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32" autoAdjust="0"/>
    <p:restoredTop sz="95332" autoAdjust="0"/>
  </p:normalViewPr>
  <p:slideViewPr>
    <p:cSldViewPr snapToGrid="0">
      <p:cViewPr varScale="1">
        <p:scale>
          <a:sx n="119" d="100"/>
          <a:sy n="119" d="100"/>
        </p:scale>
        <p:origin x="540" y="8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990"/>
    </p:cViewPr>
  </p:sorterViewPr>
  <p:notesViewPr>
    <p:cSldViewPr snapToGrid="0">
      <p:cViewPr varScale="1">
        <p:scale>
          <a:sx n="73" d="100"/>
          <a:sy n="73" d="100"/>
        </p:scale>
        <p:origin x="2136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3.fntdata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6.fntdata"/><Relationship Id="rId47" Type="http://schemas.openxmlformats.org/officeDocument/2006/relationships/font" Target="fonts/font11.fntdata"/><Relationship Id="rId50" Type="http://schemas.openxmlformats.org/officeDocument/2006/relationships/font" Target="fonts/font14.fntdata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2.fntdata"/><Relationship Id="rId46" Type="http://schemas.openxmlformats.org/officeDocument/2006/relationships/font" Target="fonts/font10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font" Target="fonts/font5.fntdata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1.fntdata"/><Relationship Id="rId40" Type="http://schemas.openxmlformats.org/officeDocument/2006/relationships/font" Target="fonts/font4.fntdata"/><Relationship Id="rId45" Type="http://schemas.openxmlformats.org/officeDocument/2006/relationships/font" Target="fonts/font9.fntdata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49" Type="http://schemas.openxmlformats.org/officeDocument/2006/relationships/font" Target="fonts/font13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8.fntdata"/><Relationship Id="rId52" Type="http://schemas.openxmlformats.org/officeDocument/2006/relationships/font" Target="fonts/font1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43" Type="http://schemas.openxmlformats.org/officeDocument/2006/relationships/font" Target="fonts/font7.fntdata"/><Relationship Id="rId48" Type="http://schemas.openxmlformats.org/officeDocument/2006/relationships/font" Target="fonts/font12.fntdata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font" Target="fonts/font15.fntdata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A4E335E-1F58-994B-A4CC-3F75386770F4}" type="doc">
      <dgm:prSet loTypeId="urn:microsoft.com/office/officeart/2005/8/layout/radial2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5B26B0C-7765-994E-B330-2C561615DDA2}">
      <dgm:prSet phldrT="[Text]" custT="1">
        <dgm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dgm:style>
      </dgm:prSet>
      <dgm:spPr>
        <a:solidFill>
          <a:schemeClr val="tx1">
            <a:lumMod val="65000"/>
            <a:lumOff val="35000"/>
          </a:schemeClr>
        </a:solidFill>
        <a:ln>
          <a:solidFill>
            <a:schemeClr val="bg2"/>
          </a:solidFill>
        </a:ln>
      </dgm:spPr>
      <dgm:t>
        <a:bodyPr/>
        <a:lstStyle/>
        <a:p>
          <a:pPr rtl="0"/>
          <a:r>
            <a:rPr lang="ar-TN" sz="1400" dirty="0"/>
            <a:t>القطاع </a:t>
          </a:r>
          <a:endParaRPr lang="en-GB" sz="1400" dirty="0"/>
        </a:p>
      </dgm:t>
    </dgm:pt>
    <dgm:pt modelId="{B4464927-3F6F-DB41-B22B-80CB828C45D2}" type="parTrans" cxnId="{627D2BB9-E7B6-4C48-B8ED-3E71B010B7F9}">
      <dgm:prSet/>
      <dgm:spPr/>
      <dgm:t>
        <a:bodyPr/>
        <a:lstStyle/>
        <a:p>
          <a:endParaRPr lang="en-GB"/>
        </a:p>
      </dgm:t>
    </dgm:pt>
    <dgm:pt modelId="{D05D7108-AC24-DB4B-A329-C3151B0FFAAE}" type="sibTrans" cxnId="{627D2BB9-E7B6-4C48-B8ED-3E71B010B7F9}">
      <dgm:prSet/>
      <dgm:spPr/>
      <dgm:t>
        <a:bodyPr/>
        <a:lstStyle/>
        <a:p>
          <a:endParaRPr lang="en-GB"/>
        </a:p>
      </dgm:t>
    </dgm:pt>
    <dgm:pt modelId="{0A9AE67E-F13D-4940-BEAD-1697B6FD31A7}">
      <dgm:prSet phldrT="[Text]" custT="1">
        <dgm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dgm:style>
      </dgm:prSet>
      <dgm:spPr>
        <a:solidFill>
          <a:schemeClr val="tx1">
            <a:lumMod val="65000"/>
            <a:lumOff val="35000"/>
          </a:schemeClr>
        </a:solidFill>
        <a:ln>
          <a:solidFill>
            <a:schemeClr val="bg2"/>
          </a:solidFill>
        </a:ln>
      </dgm:spPr>
      <dgm:t>
        <a:bodyPr/>
        <a:lstStyle/>
        <a:p>
          <a:pPr rtl="0"/>
          <a:r>
            <a:rPr lang="ar-TN" sz="1400" dirty="0"/>
            <a:t>الجهة </a:t>
          </a:r>
          <a:endParaRPr lang="en-GB" sz="1400" dirty="0"/>
        </a:p>
      </dgm:t>
    </dgm:pt>
    <dgm:pt modelId="{8E6A9D1E-ABFF-3A4D-88D0-FBA8D7A44F40}" type="parTrans" cxnId="{9F79166D-C08F-6A46-8E87-EF1F3AAB0A73}">
      <dgm:prSet/>
      <dgm:spPr/>
      <dgm:t>
        <a:bodyPr/>
        <a:lstStyle/>
        <a:p>
          <a:endParaRPr lang="en-GB"/>
        </a:p>
      </dgm:t>
    </dgm:pt>
    <dgm:pt modelId="{85184041-B4BD-EF47-91C6-DCFAB8F0008E}" type="sibTrans" cxnId="{9F79166D-C08F-6A46-8E87-EF1F3AAB0A73}">
      <dgm:prSet/>
      <dgm:spPr/>
      <dgm:t>
        <a:bodyPr/>
        <a:lstStyle/>
        <a:p>
          <a:endParaRPr lang="en-GB"/>
        </a:p>
      </dgm:t>
    </dgm:pt>
    <dgm:pt modelId="{272A89FC-0983-264A-BD89-F189C2B01AA8}">
      <dgm:prSet phldrT="[Text]" custT="1">
        <dgm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dgm:style>
      </dgm:prSet>
      <dgm:spPr>
        <a:solidFill>
          <a:schemeClr val="tx1">
            <a:lumMod val="65000"/>
            <a:lumOff val="35000"/>
          </a:schemeClr>
        </a:solidFill>
        <a:ln>
          <a:solidFill>
            <a:schemeClr val="bg2"/>
          </a:solidFill>
        </a:ln>
      </dgm:spPr>
      <dgm:t>
        <a:bodyPr/>
        <a:lstStyle/>
        <a:p>
          <a:pPr rtl="0"/>
          <a:r>
            <a:rPr lang="ar-TN" sz="1400" dirty="0"/>
            <a:t>الفئة </a:t>
          </a:r>
          <a:endParaRPr lang="en-GB" sz="1400" dirty="0"/>
        </a:p>
      </dgm:t>
    </dgm:pt>
    <dgm:pt modelId="{A48D934D-6EF1-C94E-BF6A-36601FD658F9}" type="parTrans" cxnId="{052587DE-404F-8C44-B97A-85C6DEB52E53}">
      <dgm:prSet/>
      <dgm:spPr/>
      <dgm:t>
        <a:bodyPr/>
        <a:lstStyle/>
        <a:p>
          <a:endParaRPr lang="en-GB"/>
        </a:p>
      </dgm:t>
    </dgm:pt>
    <dgm:pt modelId="{63F0EBE3-D001-914B-AED0-0330ACFB1677}" type="sibTrans" cxnId="{052587DE-404F-8C44-B97A-85C6DEB52E53}">
      <dgm:prSet/>
      <dgm:spPr/>
      <dgm:t>
        <a:bodyPr/>
        <a:lstStyle/>
        <a:p>
          <a:endParaRPr lang="en-GB"/>
        </a:p>
      </dgm:t>
    </dgm:pt>
    <dgm:pt modelId="{9C86CFAB-27DC-6341-B394-D1F487096095}" type="pres">
      <dgm:prSet presAssocID="{0A4E335E-1F58-994B-A4CC-3F75386770F4}" presName="composite" presStyleCnt="0">
        <dgm:presLayoutVars>
          <dgm:chMax val="5"/>
          <dgm:dir/>
          <dgm:animLvl val="ctr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73E28268-BEE7-CF49-AB5F-1EDB024984D4}" type="pres">
      <dgm:prSet presAssocID="{0A4E335E-1F58-994B-A4CC-3F75386770F4}" presName="cycle" presStyleCnt="0"/>
      <dgm:spPr/>
    </dgm:pt>
    <dgm:pt modelId="{F56A61C0-BB59-A748-ABE6-5A1F365DD581}" type="pres">
      <dgm:prSet presAssocID="{0A4E335E-1F58-994B-A4CC-3F75386770F4}" presName="centerShape" presStyleCnt="0"/>
      <dgm:spPr/>
    </dgm:pt>
    <dgm:pt modelId="{83F6A80E-EB52-6C48-B292-8FB4638A03C1}" type="pres">
      <dgm:prSet presAssocID="{0A4E335E-1F58-994B-A4CC-3F75386770F4}" presName="connSite" presStyleLbl="node1" presStyleIdx="0" presStyleCnt="4"/>
      <dgm:spPr/>
    </dgm:pt>
    <dgm:pt modelId="{32BEED4B-B545-684E-A3F2-43950E562EA8}" type="pres">
      <dgm:prSet presAssocID="{0A4E335E-1F58-994B-A4CC-3F75386770F4}" presName="visible" presStyleLbl="node1" presStyleIdx="0" presStyleCnt="4" custLinFactNeighborX="-10" custLinFactNeighborY="1629">
        <dgm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dgm:style>
      </dgm:prSet>
      <dgm:spPr>
        <a:solidFill>
          <a:schemeClr val="tx1">
            <a:lumMod val="65000"/>
            <a:lumOff val="35000"/>
          </a:schemeClr>
        </a:solidFill>
        <a:ln>
          <a:solidFill>
            <a:schemeClr val="bg2"/>
          </a:solidFill>
        </a:ln>
      </dgm:spPr>
    </dgm:pt>
    <dgm:pt modelId="{497CE1B1-D005-2442-A1C3-D6EB52C63382}" type="pres">
      <dgm:prSet presAssocID="{B4464927-3F6F-DB41-B22B-80CB828C45D2}" presName="Name25" presStyleLbl="parChTrans1D1" presStyleIdx="0" presStyleCnt="3"/>
      <dgm:spPr/>
      <dgm:t>
        <a:bodyPr/>
        <a:lstStyle/>
        <a:p>
          <a:endParaRPr lang="fr-FR"/>
        </a:p>
      </dgm:t>
    </dgm:pt>
    <dgm:pt modelId="{28726143-FDAD-8B45-BF04-866F19892C21}" type="pres">
      <dgm:prSet presAssocID="{05B26B0C-7765-994E-B330-2C561615DDA2}" presName="node" presStyleCnt="0"/>
      <dgm:spPr/>
    </dgm:pt>
    <dgm:pt modelId="{1B070912-C0F3-614D-8A07-83F8E3494C1C}" type="pres">
      <dgm:prSet presAssocID="{05B26B0C-7765-994E-B330-2C561615DDA2}" presName="parentNode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C91A6A4-D3B9-BB40-B6D0-117A8067B5B8}" type="pres">
      <dgm:prSet presAssocID="{05B26B0C-7765-994E-B330-2C561615DDA2}" presName="childNode" presStyleLbl="revTx" presStyleIdx="0" presStyleCnt="0">
        <dgm:presLayoutVars>
          <dgm:bulletEnabled val="1"/>
        </dgm:presLayoutVars>
      </dgm:prSet>
      <dgm:spPr/>
    </dgm:pt>
    <dgm:pt modelId="{EFE08C2B-5912-1E4A-92BC-DE07BE6B5E5C}" type="pres">
      <dgm:prSet presAssocID="{8E6A9D1E-ABFF-3A4D-88D0-FBA8D7A44F40}" presName="Name25" presStyleLbl="parChTrans1D1" presStyleIdx="1" presStyleCnt="3"/>
      <dgm:spPr/>
      <dgm:t>
        <a:bodyPr/>
        <a:lstStyle/>
        <a:p>
          <a:endParaRPr lang="fr-FR"/>
        </a:p>
      </dgm:t>
    </dgm:pt>
    <dgm:pt modelId="{BD965BE2-4D13-814C-B28E-389FF8A28B58}" type="pres">
      <dgm:prSet presAssocID="{0A9AE67E-F13D-4940-BEAD-1697B6FD31A7}" presName="node" presStyleCnt="0"/>
      <dgm:spPr/>
    </dgm:pt>
    <dgm:pt modelId="{39F450CA-4538-1F40-9E29-C3CD7008E004}" type="pres">
      <dgm:prSet presAssocID="{0A9AE67E-F13D-4940-BEAD-1697B6FD31A7}" presName="parentNode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759048C-10DA-3644-80D5-484360BA950A}" type="pres">
      <dgm:prSet presAssocID="{0A9AE67E-F13D-4940-BEAD-1697B6FD31A7}" presName="childNode" presStyleLbl="revTx" presStyleIdx="0" presStyleCnt="0">
        <dgm:presLayoutVars>
          <dgm:bulletEnabled val="1"/>
        </dgm:presLayoutVars>
      </dgm:prSet>
      <dgm:spPr/>
    </dgm:pt>
    <dgm:pt modelId="{F0A8E1EA-171A-AD49-879E-13DC7254C0F3}" type="pres">
      <dgm:prSet presAssocID="{A48D934D-6EF1-C94E-BF6A-36601FD658F9}" presName="Name25" presStyleLbl="parChTrans1D1" presStyleIdx="2" presStyleCnt="3"/>
      <dgm:spPr/>
      <dgm:t>
        <a:bodyPr/>
        <a:lstStyle/>
        <a:p>
          <a:endParaRPr lang="fr-FR"/>
        </a:p>
      </dgm:t>
    </dgm:pt>
    <dgm:pt modelId="{FBD5AE15-98F8-F649-BC8F-65D78947C4B4}" type="pres">
      <dgm:prSet presAssocID="{272A89FC-0983-264A-BD89-F189C2B01AA8}" presName="node" presStyleCnt="0"/>
      <dgm:spPr/>
    </dgm:pt>
    <dgm:pt modelId="{AF7F69CB-F41B-1C4E-99F7-1E8DBF3B23F6}" type="pres">
      <dgm:prSet presAssocID="{272A89FC-0983-264A-BD89-F189C2B01AA8}" presName="parentNode" presStyleLbl="node1" presStyleIdx="3" presStyleCnt="4" custLinFactNeighborX="1165" custLinFactNeighborY="138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D2CE303-6DEE-3441-9D54-53BCE20C1633}" type="pres">
      <dgm:prSet presAssocID="{272A89FC-0983-264A-BD89-F189C2B01AA8}" presName="childNode" presStyleLbl="revTx" presStyleIdx="0" presStyleCnt="0">
        <dgm:presLayoutVars>
          <dgm:bulletEnabled val="1"/>
        </dgm:presLayoutVars>
      </dgm:prSet>
      <dgm:spPr/>
    </dgm:pt>
  </dgm:ptLst>
  <dgm:cxnLst>
    <dgm:cxn modelId="{A19E53E3-38CE-924E-9921-B52BC16A4F8E}" type="presOf" srcId="{B4464927-3F6F-DB41-B22B-80CB828C45D2}" destId="{497CE1B1-D005-2442-A1C3-D6EB52C63382}" srcOrd="0" destOrd="0" presId="urn:microsoft.com/office/officeart/2005/8/layout/radial2"/>
    <dgm:cxn modelId="{9F79166D-C08F-6A46-8E87-EF1F3AAB0A73}" srcId="{0A4E335E-1F58-994B-A4CC-3F75386770F4}" destId="{0A9AE67E-F13D-4940-BEAD-1697B6FD31A7}" srcOrd="1" destOrd="0" parTransId="{8E6A9D1E-ABFF-3A4D-88D0-FBA8D7A44F40}" sibTransId="{85184041-B4BD-EF47-91C6-DCFAB8F0008E}"/>
    <dgm:cxn modelId="{C8C8FDEF-5785-DD44-B0E5-60A215223388}" type="presOf" srcId="{A48D934D-6EF1-C94E-BF6A-36601FD658F9}" destId="{F0A8E1EA-171A-AD49-879E-13DC7254C0F3}" srcOrd="0" destOrd="0" presId="urn:microsoft.com/office/officeart/2005/8/layout/radial2"/>
    <dgm:cxn modelId="{052587DE-404F-8C44-B97A-85C6DEB52E53}" srcId="{0A4E335E-1F58-994B-A4CC-3F75386770F4}" destId="{272A89FC-0983-264A-BD89-F189C2B01AA8}" srcOrd="2" destOrd="0" parTransId="{A48D934D-6EF1-C94E-BF6A-36601FD658F9}" sibTransId="{63F0EBE3-D001-914B-AED0-0330ACFB1677}"/>
    <dgm:cxn modelId="{94C8DBA0-A84E-264A-9BBE-A6D2A1890A18}" type="presOf" srcId="{0A9AE67E-F13D-4940-BEAD-1697B6FD31A7}" destId="{39F450CA-4538-1F40-9E29-C3CD7008E004}" srcOrd="0" destOrd="0" presId="urn:microsoft.com/office/officeart/2005/8/layout/radial2"/>
    <dgm:cxn modelId="{627D2BB9-E7B6-4C48-B8ED-3E71B010B7F9}" srcId="{0A4E335E-1F58-994B-A4CC-3F75386770F4}" destId="{05B26B0C-7765-994E-B330-2C561615DDA2}" srcOrd="0" destOrd="0" parTransId="{B4464927-3F6F-DB41-B22B-80CB828C45D2}" sibTransId="{D05D7108-AC24-DB4B-A329-C3151B0FFAAE}"/>
    <dgm:cxn modelId="{82545430-E3A6-224A-916A-C5E7615F95DB}" type="presOf" srcId="{0A4E335E-1F58-994B-A4CC-3F75386770F4}" destId="{9C86CFAB-27DC-6341-B394-D1F487096095}" srcOrd="0" destOrd="0" presId="urn:microsoft.com/office/officeart/2005/8/layout/radial2"/>
    <dgm:cxn modelId="{EE3BEE75-8EED-A043-988D-E8A426E886A3}" type="presOf" srcId="{272A89FC-0983-264A-BD89-F189C2B01AA8}" destId="{AF7F69CB-F41B-1C4E-99F7-1E8DBF3B23F6}" srcOrd="0" destOrd="0" presId="urn:microsoft.com/office/officeart/2005/8/layout/radial2"/>
    <dgm:cxn modelId="{20588376-CB30-F649-8B52-1584437D7B03}" type="presOf" srcId="{8E6A9D1E-ABFF-3A4D-88D0-FBA8D7A44F40}" destId="{EFE08C2B-5912-1E4A-92BC-DE07BE6B5E5C}" srcOrd="0" destOrd="0" presId="urn:microsoft.com/office/officeart/2005/8/layout/radial2"/>
    <dgm:cxn modelId="{2176F3E7-3253-2A46-B5F0-5CA96C8095D9}" type="presOf" srcId="{05B26B0C-7765-994E-B330-2C561615DDA2}" destId="{1B070912-C0F3-614D-8A07-83F8E3494C1C}" srcOrd="0" destOrd="0" presId="urn:microsoft.com/office/officeart/2005/8/layout/radial2"/>
    <dgm:cxn modelId="{B8215E07-25BA-4444-9ADE-482021566160}" type="presParOf" srcId="{9C86CFAB-27DC-6341-B394-D1F487096095}" destId="{73E28268-BEE7-CF49-AB5F-1EDB024984D4}" srcOrd="0" destOrd="0" presId="urn:microsoft.com/office/officeart/2005/8/layout/radial2"/>
    <dgm:cxn modelId="{356FB656-B06E-E94E-81BB-06EE3779BF67}" type="presParOf" srcId="{73E28268-BEE7-CF49-AB5F-1EDB024984D4}" destId="{F56A61C0-BB59-A748-ABE6-5A1F365DD581}" srcOrd="0" destOrd="0" presId="urn:microsoft.com/office/officeart/2005/8/layout/radial2"/>
    <dgm:cxn modelId="{D41634EB-8007-BE40-A81F-F687B476EBB9}" type="presParOf" srcId="{F56A61C0-BB59-A748-ABE6-5A1F365DD581}" destId="{83F6A80E-EB52-6C48-B292-8FB4638A03C1}" srcOrd="0" destOrd="0" presId="urn:microsoft.com/office/officeart/2005/8/layout/radial2"/>
    <dgm:cxn modelId="{7BA79271-5244-484D-B43E-D6ADD4F80608}" type="presParOf" srcId="{F56A61C0-BB59-A748-ABE6-5A1F365DD581}" destId="{32BEED4B-B545-684E-A3F2-43950E562EA8}" srcOrd="1" destOrd="0" presId="urn:microsoft.com/office/officeart/2005/8/layout/radial2"/>
    <dgm:cxn modelId="{A226B601-203B-5243-9131-FF8CF8CBEC50}" type="presParOf" srcId="{73E28268-BEE7-CF49-AB5F-1EDB024984D4}" destId="{497CE1B1-D005-2442-A1C3-D6EB52C63382}" srcOrd="1" destOrd="0" presId="urn:microsoft.com/office/officeart/2005/8/layout/radial2"/>
    <dgm:cxn modelId="{05479203-B0EE-4C43-825A-AF08765F58C6}" type="presParOf" srcId="{73E28268-BEE7-CF49-AB5F-1EDB024984D4}" destId="{28726143-FDAD-8B45-BF04-866F19892C21}" srcOrd="2" destOrd="0" presId="urn:microsoft.com/office/officeart/2005/8/layout/radial2"/>
    <dgm:cxn modelId="{97FD3085-08F1-324E-B00D-333784A532C1}" type="presParOf" srcId="{28726143-FDAD-8B45-BF04-866F19892C21}" destId="{1B070912-C0F3-614D-8A07-83F8E3494C1C}" srcOrd="0" destOrd="0" presId="urn:microsoft.com/office/officeart/2005/8/layout/radial2"/>
    <dgm:cxn modelId="{8C5DF61C-C7F1-5444-A22B-A2054AF72293}" type="presParOf" srcId="{28726143-FDAD-8B45-BF04-866F19892C21}" destId="{EC91A6A4-D3B9-BB40-B6D0-117A8067B5B8}" srcOrd="1" destOrd="0" presId="urn:microsoft.com/office/officeart/2005/8/layout/radial2"/>
    <dgm:cxn modelId="{2D127E0B-1A9D-3845-AEFC-ADDAF90FA8AF}" type="presParOf" srcId="{73E28268-BEE7-CF49-AB5F-1EDB024984D4}" destId="{EFE08C2B-5912-1E4A-92BC-DE07BE6B5E5C}" srcOrd="3" destOrd="0" presId="urn:microsoft.com/office/officeart/2005/8/layout/radial2"/>
    <dgm:cxn modelId="{6E81C741-5095-514F-8504-0B6E8D960074}" type="presParOf" srcId="{73E28268-BEE7-CF49-AB5F-1EDB024984D4}" destId="{BD965BE2-4D13-814C-B28E-389FF8A28B58}" srcOrd="4" destOrd="0" presId="urn:microsoft.com/office/officeart/2005/8/layout/radial2"/>
    <dgm:cxn modelId="{66EC6566-084C-0140-8A5C-58CFC4A57252}" type="presParOf" srcId="{BD965BE2-4D13-814C-B28E-389FF8A28B58}" destId="{39F450CA-4538-1F40-9E29-C3CD7008E004}" srcOrd="0" destOrd="0" presId="urn:microsoft.com/office/officeart/2005/8/layout/radial2"/>
    <dgm:cxn modelId="{956321A5-8D55-024B-B970-EE4B416AD0DC}" type="presParOf" srcId="{BD965BE2-4D13-814C-B28E-389FF8A28B58}" destId="{5759048C-10DA-3644-80D5-484360BA950A}" srcOrd="1" destOrd="0" presId="urn:microsoft.com/office/officeart/2005/8/layout/radial2"/>
    <dgm:cxn modelId="{26FC87E1-6B73-9345-9426-BCE211E7B04B}" type="presParOf" srcId="{73E28268-BEE7-CF49-AB5F-1EDB024984D4}" destId="{F0A8E1EA-171A-AD49-879E-13DC7254C0F3}" srcOrd="5" destOrd="0" presId="urn:microsoft.com/office/officeart/2005/8/layout/radial2"/>
    <dgm:cxn modelId="{94569E79-3341-C04E-BFE2-9F2307F057FD}" type="presParOf" srcId="{73E28268-BEE7-CF49-AB5F-1EDB024984D4}" destId="{FBD5AE15-98F8-F649-BC8F-65D78947C4B4}" srcOrd="6" destOrd="0" presId="urn:microsoft.com/office/officeart/2005/8/layout/radial2"/>
    <dgm:cxn modelId="{CCEB1BCC-A320-BB4E-B692-8A14D6C82A44}" type="presParOf" srcId="{FBD5AE15-98F8-F649-BC8F-65D78947C4B4}" destId="{AF7F69CB-F41B-1C4E-99F7-1E8DBF3B23F6}" srcOrd="0" destOrd="0" presId="urn:microsoft.com/office/officeart/2005/8/layout/radial2"/>
    <dgm:cxn modelId="{B752F79B-ED4D-9845-A7E6-354557A61E7B}" type="presParOf" srcId="{FBD5AE15-98F8-F649-BC8F-65D78947C4B4}" destId="{5D2CE303-6DEE-3441-9D54-53BCE20C1633}" srcOrd="1" destOrd="0" presId="urn:microsoft.com/office/officeart/2005/8/layout/radial2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31821CB-96E9-9D46-9608-4C82501544AF}" type="doc">
      <dgm:prSet loTypeId="urn:microsoft.com/office/officeart/2008/layout/AlternatingHexagons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84BEB78D-343D-4F4C-98CB-FAE49BDD1771}">
      <dgm:prSet phldrT="[Text]"/>
      <dgm:spPr/>
      <dgm:t>
        <a:bodyPr/>
        <a:lstStyle/>
        <a:p>
          <a:pPr rtl="0"/>
          <a:endParaRPr lang="en-GB" dirty="0"/>
        </a:p>
      </dgm:t>
    </dgm:pt>
    <dgm:pt modelId="{0A9490D3-D347-A544-B49C-738018423DF0}" type="parTrans" cxnId="{464526C8-D654-974E-92FC-694EAE4E94DB}">
      <dgm:prSet/>
      <dgm:spPr/>
      <dgm:t>
        <a:bodyPr/>
        <a:lstStyle/>
        <a:p>
          <a:endParaRPr lang="en-GB"/>
        </a:p>
      </dgm:t>
    </dgm:pt>
    <dgm:pt modelId="{85737100-138D-DA4C-991F-E2DAD921B522}" type="sibTrans" cxnId="{464526C8-D654-974E-92FC-694EAE4E94DB}">
      <dgm:prSet/>
      <dgm:spPr/>
      <dgm:t>
        <a:bodyPr/>
        <a:lstStyle/>
        <a:p>
          <a:pPr rtl="0"/>
          <a:endParaRPr lang="en-GB"/>
        </a:p>
      </dgm:t>
    </dgm:pt>
    <dgm:pt modelId="{9FC15227-95D5-5245-9D9D-6DBAD95DD90E}">
      <dgm:prSet phldrT="[Text]"/>
      <dgm:spPr/>
      <dgm:t>
        <a:bodyPr/>
        <a:lstStyle/>
        <a:p>
          <a:pPr rtl="0"/>
          <a:endParaRPr lang="en-GB" dirty="0"/>
        </a:p>
      </dgm:t>
    </dgm:pt>
    <dgm:pt modelId="{96F23B49-BF5C-864A-A79A-0365409C7FD9}" type="parTrans" cxnId="{5785780F-AB91-9249-9D96-ADB47B718A67}">
      <dgm:prSet/>
      <dgm:spPr/>
      <dgm:t>
        <a:bodyPr/>
        <a:lstStyle/>
        <a:p>
          <a:endParaRPr lang="en-GB"/>
        </a:p>
      </dgm:t>
    </dgm:pt>
    <dgm:pt modelId="{96638B68-8BDE-2A49-A416-346989D37FD2}" type="sibTrans" cxnId="{5785780F-AB91-9249-9D96-ADB47B718A67}">
      <dgm:prSet/>
      <dgm:spPr/>
      <dgm:t>
        <a:bodyPr/>
        <a:lstStyle/>
        <a:p>
          <a:pPr rtl="0"/>
          <a:endParaRPr lang="en-GB"/>
        </a:p>
      </dgm:t>
    </dgm:pt>
    <dgm:pt modelId="{EB36E95F-D9B5-784A-9D1A-4339943ECB08}" type="pres">
      <dgm:prSet presAssocID="{F31821CB-96E9-9D46-9608-4C82501544AF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fr-FR"/>
        </a:p>
      </dgm:t>
    </dgm:pt>
    <dgm:pt modelId="{4EA694F8-B112-C242-A418-D2585E4F8A6A}" type="pres">
      <dgm:prSet presAssocID="{84BEB78D-343D-4F4C-98CB-FAE49BDD1771}" presName="composite" presStyleCnt="0"/>
      <dgm:spPr/>
    </dgm:pt>
    <dgm:pt modelId="{5C528B69-19BE-9F46-83A9-1ED9ADC08352}" type="pres">
      <dgm:prSet presAssocID="{84BEB78D-343D-4F4C-98CB-FAE49BDD1771}" presName="Parent1" presStyleLbl="node1" presStyleIdx="0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4DCEAEF-3713-654D-AA34-8E0467E6D885}" type="pres">
      <dgm:prSet presAssocID="{84BEB78D-343D-4F4C-98CB-FAE49BDD1771}" presName="Childtext1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0E3762A1-4F28-A84A-ABB8-570E8AAD5F9A}" type="pres">
      <dgm:prSet presAssocID="{84BEB78D-343D-4F4C-98CB-FAE49BDD1771}" presName="BalanceSpacing" presStyleCnt="0"/>
      <dgm:spPr/>
    </dgm:pt>
    <dgm:pt modelId="{6559F7E0-1BFD-DB49-8DC3-42B4F6869C29}" type="pres">
      <dgm:prSet presAssocID="{84BEB78D-343D-4F4C-98CB-FAE49BDD1771}" presName="BalanceSpacing1" presStyleCnt="0"/>
      <dgm:spPr/>
    </dgm:pt>
    <dgm:pt modelId="{0E50620D-F100-7749-8EB2-23024E2ABC0D}" type="pres">
      <dgm:prSet presAssocID="{85737100-138D-DA4C-991F-E2DAD921B522}" presName="Accent1Text" presStyleLbl="node1" presStyleIdx="1" presStyleCnt="4"/>
      <dgm:spPr/>
      <dgm:t>
        <a:bodyPr/>
        <a:lstStyle/>
        <a:p>
          <a:endParaRPr lang="fr-FR"/>
        </a:p>
      </dgm:t>
    </dgm:pt>
    <dgm:pt modelId="{E8CE9755-E2C6-F14D-9FF9-70F8D08A78EB}" type="pres">
      <dgm:prSet presAssocID="{85737100-138D-DA4C-991F-E2DAD921B522}" presName="spaceBetweenRectangles" presStyleCnt="0"/>
      <dgm:spPr/>
    </dgm:pt>
    <dgm:pt modelId="{8E204899-A4F6-0546-8A98-205D760307D4}" type="pres">
      <dgm:prSet presAssocID="{9FC15227-95D5-5245-9D9D-6DBAD95DD90E}" presName="composite" presStyleCnt="0"/>
      <dgm:spPr/>
    </dgm:pt>
    <dgm:pt modelId="{92717A0A-30E4-DA48-837B-1AF5EB2D7857}" type="pres">
      <dgm:prSet presAssocID="{9FC15227-95D5-5245-9D9D-6DBAD95DD90E}" presName="Parent1" presStyleLbl="node1" presStyleIdx="2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E6B2322-EEDE-7D49-8321-DF612079919D}" type="pres">
      <dgm:prSet presAssocID="{9FC15227-95D5-5245-9D9D-6DBAD95DD90E}" presName="Childtext1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477BA3B5-0F44-ED41-9F45-ADB66673F118}" type="pres">
      <dgm:prSet presAssocID="{9FC15227-95D5-5245-9D9D-6DBAD95DD90E}" presName="BalanceSpacing" presStyleCnt="0"/>
      <dgm:spPr/>
    </dgm:pt>
    <dgm:pt modelId="{0F565AC8-ED47-D345-976A-12BF71CE2AC7}" type="pres">
      <dgm:prSet presAssocID="{9FC15227-95D5-5245-9D9D-6DBAD95DD90E}" presName="BalanceSpacing1" presStyleCnt="0"/>
      <dgm:spPr/>
    </dgm:pt>
    <dgm:pt modelId="{83569074-03DC-8445-A57A-7B5B414EB494}" type="pres">
      <dgm:prSet presAssocID="{96638B68-8BDE-2A49-A416-346989D37FD2}" presName="Accent1Text" presStyleLbl="node1" presStyleIdx="3" presStyleCnt="4" custLinFactNeighborX="5970" custLinFactNeighborY="696"/>
      <dgm:spPr/>
      <dgm:t>
        <a:bodyPr/>
        <a:lstStyle/>
        <a:p>
          <a:endParaRPr lang="fr-FR"/>
        </a:p>
      </dgm:t>
    </dgm:pt>
  </dgm:ptLst>
  <dgm:cxnLst>
    <dgm:cxn modelId="{C7B9875C-DA76-EC48-9D75-226F50B1A387}" type="presOf" srcId="{85737100-138D-DA4C-991F-E2DAD921B522}" destId="{0E50620D-F100-7749-8EB2-23024E2ABC0D}" srcOrd="0" destOrd="0" presId="urn:microsoft.com/office/officeart/2008/layout/AlternatingHexagons"/>
    <dgm:cxn modelId="{D3872BF9-A7A4-EB40-9CD7-31C891E0C006}" type="presOf" srcId="{F31821CB-96E9-9D46-9608-4C82501544AF}" destId="{EB36E95F-D9B5-784A-9D1A-4339943ECB08}" srcOrd="0" destOrd="0" presId="urn:microsoft.com/office/officeart/2008/layout/AlternatingHexagons"/>
    <dgm:cxn modelId="{C60983E0-898E-3247-886D-4909675B7A65}" type="presOf" srcId="{96638B68-8BDE-2A49-A416-346989D37FD2}" destId="{83569074-03DC-8445-A57A-7B5B414EB494}" srcOrd="0" destOrd="0" presId="urn:microsoft.com/office/officeart/2008/layout/AlternatingHexagons"/>
    <dgm:cxn modelId="{464526C8-D654-974E-92FC-694EAE4E94DB}" srcId="{F31821CB-96E9-9D46-9608-4C82501544AF}" destId="{84BEB78D-343D-4F4C-98CB-FAE49BDD1771}" srcOrd="0" destOrd="0" parTransId="{0A9490D3-D347-A544-B49C-738018423DF0}" sibTransId="{85737100-138D-DA4C-991F-E2DAD921B522}"/>
    <dgm:cxn modelId="{ED8ADB2F-6801-B74F-BF04-4CEDBA6F8426}" type="presOf" srcId="{84BEB78D-343D-4F4C-98CB-FAE49BDD1771}" destId="{5C528B69-19BE-9F46-83A9-1ED9ADC08352}" srcOrd="0" destOrd="0" presId="urn:microsoft.com/office/officeart/2008/layout/AlternatingHexagons"/>
    <dgm:cxn modelId="{9699B01B-780F-0E49-B7D7-1A11E7FFCAFF}" type="presOf" srcId="{9FC15227-95D5-5245-9D9D-6DBAD95DD90E}" destId="{92717A0A-30E4-DA48-837B-1AF5EB2D7857}" srcOrd="0" destOrd="0" presId="urn:microsoft.com/office/officeart/2008/layout/AlternatingHexagons"/>
    <dgm:cxn modelId="{5785780F-AB91-9249-9D96-ADB47B718A67}" srcId="{F31821CB-96E9-9D46-9608-4C82501544AF}" destId="{9FC15227-95D5-5245-9D9D-6DBAD95DD90E}" srcOrd="1" destOrd="0" parTransId="{96F23B49-BF5C-864A-A79A-0365409C7FD9}" sibTransId="{96638B68-8BDE-2A49-A416-346989D37FD2}"/>
    <dgm:cxn modelId="{04C600CB-24CA-0142-B67D-488F7377FEA1}" type="presParOf" srcId="{EB36E95F-D9B5-784A-9D1A-4339943ECB08}" destId="{4EA694F8-B112-C242-A418-D2585E4F8A6A}" srcOrd="0" destOrd="0" presId="urn:microsoft.com/office/officeart/2008/layout/AlternatingHexagons"/>
    <dgm:cxn modelId="{F3C6AABE-9D51-604D-AC9E-7FC3969F8067}" type="presParOf" srcId="{4EA694F8-B112-C242-A418-D2585E4F8A6A}" destId="{5C528B69-19BE-9F46-83A9-1ED9ADC08352}" srcOrd="0" destOrd="0" presId="urn:microsoft.com/office/officeart/2008/layout/AlternatingHexagons"/>
    <dgm:cxn modelId="{6DFDBCF0-0DBE-6B42-A598-D0D0943C19E0}" type="presParOf" srcId="{4EA694F8-B112-C242-A418-D2585E4F8A6A}" destId="{74DCEAEF-3713-654D-AA34-8E0467E6D885}" srcOrd="1" destOrd="0" presId="urn:microsoft.com/office/officeart/2008/layout/AlternatingHexagons"/>
    <dgm:cxn modelId="{22C3AE63-8D5E-AF46-8FEE-0FF99246A030}" type="presParOf" srcId="{4EA694F8-B112-C242-A418-D2585E4F8A6A}" destId="{0E3762A1-4F28-A84A-ABB8-570E8AAD5F9A}" srcOrd="2" destOrd="0" presId="urn:microsoft.com/office/officeart/2008/layout/AlternatingHexagons"/>
    <dgm:cxn modelId="{85B6FDDC-D0D2-EB4C-9130-8A9D5E979D62}" type="presParOf" srcId="{4EA694F8-B112-C242-A418-D2585E4F8A6A}" destId="{6559F7E0-1BFD-DB49-8DC3-42B4F6869C29}" srcOrd="3" destOrd="0" presId="urn:microsoft.com/office/officeart/2008/layout/AlternatingHexagons"/>
    <dgm:cxn modelId="{839B9007-E08C-6740-9B7C-8799370BF5EB}" type="presParOf" srcId="{4EA694F8-B112-C242-A418-D2585E4F8A6A}" destId="{0E50620D-F100-7749-8EB2-23024E2ABC0D}" srcOrd="4" destOrd="0" presId="urn:microsoft.com/office/officeart/2008/layout/AlternatingHexagons"/>
    <dgm:cxn modelId="{C0CA798C-C288-AD4E-8992-308A036F9052}" type="presParOf" srcId="{EB36E95F-D9B5-784A-9D1A-4339943ECB08}" destId="{E8CE9755-E2C6-F14D-9FF9-70F8D08A78EB}" srcOrd="1" destOrd="0" presId="urn:microsoft.com/office/officeart/2008/layout/AlternatingHexagons"/>
    <dgm:cxn modelId="{2EFDDA33-D04A-4B44-AF75-BE84B020A029}" type="presParOf" srcId="{EB36E95F-D9B5-784A-9D1A-4339943ECB08}" destId="{8E204899-A4F6-0546-8A98-205D760307D4}" srcOrd="2" destOrd="0" presId="urn:microsoft.com/office/officeart/2008/layout/AlternatingHexagons"/>
    <dgm:cxn modelId="{69650CE7-1D35-0F41-A19B-932BA12533B6}" type="presParOf" srcId="{8E204899-A4F6-0546-8A98-205D760307D4}" destId="{92717A0A-30E4-DA48-837B-1AF5EB2D7857}" srcOrd="0" destOrd="0" presId="urn:microsoft.com/office/officeart/2008/layout/AlternatingHexagons"/>
    <dgm:cxn modelId="{9B0E1FEF-2E2A-304D-BDAF-C5B36E6996C7}" type="presParOf" srcId="{8E204899-A4F6-0546-8A98-205D760307D4}" destId="{0E6B2322-EEDE-7D49-8321-DF612079919D}" srcOrd="1" destOrd="0" presId="urn:microsoft.com/office/officeart/2008/layout/AlternatingHexagons"/>
    <dgm:cxn modelId="{3CCCC779-90A8-074D-B624-CE176FCD57B0}" type="presParOf" srcId="{8E204899-A4F6-0546-8A98-205D760307D4}" destId="{477BA3B5-0F44-ED41-9F45-ADB66673F118}" srcOrd="2" destOrd="0" presId="urn:microsoft.com/office/officeart/2008/layout/AlternatingHexagons"/>
    <dgm:cxn modelId="{5F5D2C1D-6188-734B-9F26-D95907F4B521}" type="presParOf" srcId="{8E204899-A4F6-0546-8A98-205D760307D4}" destId="{0F565AC8-ED47-D345-976A-12BF71CE2AC7}" srcOrd="3" destOrd="0" presId="urn:microsoft.com/office/officeart/2008/layout/AlternatingHexagons"/>
    <dgm:cxn modelId="{F3AFE000-9231-7A41-80CA-2189B81BC856}" type="presParOf" srcId="{8E204899-A4F6-0546-8A98-205D760307D4}" destId="{83569074-03DC-8445-A57A-7B5B414EB494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6F892B7-D913-4483-9F6C-A0584DADAA03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69693A08-B596-4E86-A822-D8A5D5EC65E9}">
      <dgm:prSet phldrT="[Texte]" custT="1">
        <dgm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dgm:style>
      </dgm:prSet>
      <dgm:spPr>
        <a:solidFill>
          <a:schemeClr val="accent1"/>
        </a:solidFill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r>
            <a:rPr lang="ar-TN" sz="1600" noProof="0" dirty="0"/>
            <a:t>تحديد القطاعات ذات الأولوية في رفع الحجر</a:t>
          </a:r>
          <a:endParaRPr lang="ar-TN" sz="1800" noProof="0" dirty="0"/>
        </a:p>
      </dgm:t>
    </dgm:pt>
    <dgm:pt modelId="{59D32CDD-FFFE-4D98-9B42-CFEB0F152906}" type="parTrans" cxnId="{9810A307-7374-48AA-AEAD-5C2DAD38D331}">
      <dgm:prSet/>
      <dgm:spPr/>
      <dgm:t>
        <a:bodyPr/>
        <a:lstStyle/>
        <a:p>
          <a:endParaRPr lang="ar-TN" sz="1200" noProof="0" dirty="0"/>
        </a:p>
      </dgm:t>
    </dgm:pt>
    <dgm:pt modelId="{43CBE4A2-432A-4FC8-9EC4-F2335A56F527}" type="sibTrans" cxnId="{9810A307-7374-48AA-AEAD-5C2DAD38D331}">
      <dgm:prSet/>
      <dgm:spPr/>
      <dgm:t>
        <a:bodyPr/>
        <a:lstStyle/>
        <a:p>
          <a:endParaRPr lang="ar-TN" sz="1200" noProof="0" dirty="0"/>
        </a:p>
      </dgm:t>
    </dgm:pt>
    <dgm:pt modelId="{81F74083-4672-4CCE-917A-CE33C0F424FC}">
      <dgm:prSet phldrT="[Texte]" custT="1"/>
      <dgm:spPr/>
      <dgm:t>
        <a:bodyPr/>
        <a:lstStyle/>
        <a:p>
          <a:pPr algn="r" rtl="1"/>
          <a:r>
            <a:rPr lang="ar-TN" sz="1600" b="0" noProof="0" dirty="0"/>
            <a:t>القطاعات الحيوية </a:t>
          </a:r>
        </a:p>
      </dgm:t>
    </dgm:pt>
    <dgm:pt modelId="{8C1F0EE1-005B-4A42-8406-A88C9EBB1980}" type="parTrans" cxnId="{07BE2ABF-54AC-4F03-A410-37F552E8F6EA}">
      <dgm:prSet/>
      <dgm:spPr/>
      <dgm:t>
        <a:bodyPr/>
        <a:lstStyle/>
        <a:p>
          <a:endParaRPr lang="ar-TN" sz="1200" noProof="0" dirty="0"/>
        </a:p>
      </dgm:t>
    </dgm:pt>
    <dgm:pt modelId="{FF139864-EA59-4774-B465-260F712F40E5}" type="sibTrans" cxnId="{07BE2ABF-54AC-4F03-A410-37F552E8F6EA}">
      <dgm:prSet/>
      <dgm:spPr/>
      <dgm:t>
        <a:bodyPr/>
        <a:lstStyle/>
        <a:p>
          <a:endParaRPr lang="ar-TN" sz="1200" noProof="0" dirty="0"/>
        </a:p>
      </dgm:t>
    </dgm:pt>
    <dgm:pt modelId="{96DBFE56-B35B-4F47-B0C8-19D598C04CD9}">
      <dgm:prSet phldrT="[Texte]" custT="1">
        <dgm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dgm:style>
      </dgm:prSet>
      <dgm:spPr>
        <a:solidFill>
          <a:schemeClr val="accent1"/>
        </a:solidFill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r>
            <a:rPr lang="ar-TN" sz="1800" b="0" i="0" dirty="0"/>
            <a:t>الجاهزية من حيث  احترام التدابير الصحية </a:t>
          </a:r>
          <a:endParaRPr lang="ar-TN" sz="1800" noProof="0" dirty="0"/>
        </a:p>
      </dgm:t>
    </dgm:pt>
    <dgm:pt modelId="{7BE8CD30-E858-4E98-9CE8-31A4D5AF6F47}" type="parTrans" cxnId="{C2B33DC1-49D3-4FDB-9D3A-362939DBFA37}">
      <dgm:prSet/>
      <dgm:spPr/>
      <dgm:t>
        <a:bodyPr/>
        <a:lstStyle/>
        <a:p>
          <a:endParaRPr lang="ar-TN" sz="1200" noProof="0" dirty="0"/>
        </a:p>
      </dgm:t>
    </dgm:pt>
    <dgm:pt modelId="{1DFDDFAB-D88D-400E-BF56-958A9B421B7D}" type="sibTrans" cxnId="{C2B33DC1-49D3-4FDB-9D3A-362939DBFA37}">
      <dgm:prSet/>
      <dgm:spPr/>
      <dgm:t>
        <a:bodyPr/>
        <a:lstStyle/>
        <a:p>
          <a:endParaRPr lang="ar-TN" sz="1200" noProof="0" dirty="0"/>
        </a:p>
      </dgm:t>
    </dgm:pt>
    <dgm:pt modelId="{E274237E-3FBA-4360-8F77-CB5490379477}">
      <dgm:prSet phldrT="[Texte]" custT="1"/>
      <dgm:spPr/>
      <dgm:t>
        <a:bodyPr/>
        <a:lstStyle/>
        <a:p>
          <a:pPr algn="r" rtl="1"/>
          <a:r>
            <a:rPr lang="ar-TN" sz="1600" baseline="0" noProof="0" dirty="0"/>
            <a:t>حسب المؤسسات والمهن  </a:t>
          </a:r>
          <a:endParaRPr lang="ar-TN" sz="1600" noProof="0" dirty="0"/>
        </a:p>
      </dgm:t>
    </dgm:pt>
    <dgm:pt modelId="{D1C27B5A-6AFA-42B5-8FCF-8E4A21F17881}" type="parTrans" cxnId="{6D6CBEA2-F84B-45E3-8DF7-5B7FF9F97A5E}">
      <dgm:prSet/>
      <dgm:spPr/>
      <dgm:t>
        <a:bodyPr/>
        <a:lstStyle/>
        <a:p>
          <a:endParaRPr lang="ar-TN" sz="1200" noProof="0" dirty="0"/>
        </a:p>
      </dgm:t>
    </dgm:pt>
    <dgm:pt modelId="{DECEE326-42FE-4220-BDEB-65DFC045395D}" type="sibTrans" cxnId="{6D6CBEA2-F84B-45E3-8DF7-5B7FF9F97A5E}">
      <dgm:prSet/>
      <dgm:spPr/>
      <dgm:t>
        <a:bodyPr/>
        <a:lstStyle/>
        <a:p>
          <a:endParaRPr lang="ar-TN" sz="1200" noProof="0" dirty="0"/>
        </a:p>
      </dgm:t>
    </dgm:pt>
    <dgm:pt modelId="{FC91F564-BD49-4696-8B2B-345C8CC47313}">
      <dgm:prSet phldrT="[Texte]" custT="1"/>
      <dgm:spPr/>
      <dgm:t>
        <a:bodyPr/>
        <a:lstStyle/>
        <a:p>
          <a:pPr algn="r" rtl="1"/>
          <a:r>
            <a:rPr lang="ar-TN" sz="1600" b="0" i="0" dirty="0"/>
            <a:t>القطاعات </a:t>
          </a:r>
          <a:r>
            <a:rPr lang="ar-TN" sz="1600" noProof="0" dirty="0"/>
            <a:t>ذات البعد الاجتماعي </a:t>
          </a:r>
        </a:p>
      </dgm:t>
    </dgm:pt>
    <dgm:pt modelId="{9A9408A0-E11A-4D59-8B34-900202814140}" type="parTrans" cxnId="{576B57BB-0B1C-4DC8-840C-8A59884C00E8}">
      <dgm:prSet/>
      <dgm:spPr/>
      <dgm:t>
        <a:bodyPr/>
        <a:lstStyle/>
        <a:p>
          <a:endParaRPr lang="ar-TN" sz="1200" noProof="0" dirty="0"/>
        </a:p>
      </dgm:t>
    </dgm:pt>
    <dgm:pt modelId="{D1629013-FD2C-4416-91FB-552EA932E8C9}" type="sibTrans" cxnId="{576B57BB-0B1C-4DC8-840C-8A59884C00E8}">
      <dgm:prSet/>
      <dgm:spPr/>
      <dgm:t>
        <a:bodyPr/>
        <a:lstStyle/>
        <a:p>
          <a:endParaRPr lang="ar-TN" sz="1200" noProof="0" dirty="0"/>
        </a:p>
      </dgm:t>
    </dgm:pt>
    <dgm:pt modelId="{3D2BD82D-747B-45EF-849F-3FCA81A74B36}">
      <dgm:prSet custT="1">
        <dgm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dgm:style>
      </dgm:prSet>
      <dgm:spPr>
        <a:solidFill>
          <a:schemeClr val="accent1"/>
        </a:solidFill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r>
            <a:rPr lang="ar-TN" sz="1800" noProof="0" dirty="0"/>
            <a:t>المراقبة </a:t>
          </a:r>
        </a:p>
      </dgm:t>
    </dgm:pt>
    <dgm:pt modelId="{FEF161B5-812A-4358-884E-6DAFB232B82F}" type="parTrans" cxnId="{DE3A80A8-7F39-4FD6-90F3-024169282FF6}">
      <dgm:prSet/>
      <dgm:spPr/>
      <dgm:t>
        <a:bodyPr/>
        <a:lstStyle/>
        <a:p>
          <a:endParaRPr lang="ar-TN" noProof="0" dirty="0"/>
        </a:p>
      </dgm:t>
    </dgm:pt>
    <dgm:pt modelId="{3D121926-46BA-443D-89A4-F2605E3C99D2}" type="sibTrans" cxnId="{DE3A80A8-7F39-4FD6-90F3-024169282FF6}">
      <dgm:prSet/>
      <dgm:spPr/>
      <dgm:t>
        <a:bodyPr/>
        <a:lstStyle/>
        <a:p>
          <a:endParaRPr lang="ar-TN" noProof="0" dirty="0"/>
        </a:p>
      </dgm:t>
    </dgm:pt>
    <dgm:pt modelId="{278FDCD2-45A9-41AF-A26F-293E3C59FFD2}">
      <dgm:prSet phldrT="[Texte]" custT="1"/>
      <dgm:spPr/>
      <dgm:t>
        <a:bodyPr/>
        <a:lstStyle/>
        <a:p>
          <a:pPr algn="r" rtl="1"/>
          <a:r>
            <a:rPr lang="ar-TN" sz="1600" b="0" i="0" dirty="0"/>
            <a:t>التدابير الصحية  حسب كراس الشروط القطاعي </a:t>
          </a:r>
          <a:endParaRPr lang="ar-TN" sz="1600" noProof="0" dirty="0"/>
        </a:p>
      </dgm:t>
    </dgm:pt>
    <dgm:pt modelId="{A49D429F-0662-47C5-ADB0-1EAB1259EC13}" type="sibTrans" cxnId="{8A1AE775-3ABA-4D09-96A3-C4B336DB7690}">
      <dgm:prSet/>
      <dgm:spPr/>
      <dgm:t>
        <a:bodyPr/>
        <a:lstStyle/>
        <a:p>
          <a:endParaRPr lang="ar-TN" sz="1200" noProof="0" dirty="0"/>
        </a:p>
      </dgm:t>
    </dgm:pt>
    <dgm:pt modelId="{0203C183-4AC2-47BC-917E-104A2EB9852A}" type="parTrans" cxnId="{8A1AE775-3ABA-4D09-96A3-C4B336DB7690}">
      <dgm:prSet/>
      <dgm:spPr/>
      <dgm:t>
        <a:bodyPr/>
        <a:lstStyle/>
        <a:p>
          <a:endParaRPr lang="ar-TN" sz="1200" noProof="0" dirty="0"/>
        </a:p>
      </dgm:t>
    </dgm:pt>
    <dgm:pt modelId="{8C6BA62B-58FA-447F-866E-4540B10CA4DD}">
      <dgm:prSet phldrT="[Texte]" custT="1"/>
      <dgm:spPr/>
      <dgm:t>
        <a:bodyPr/>
        <a:lstStyle/>
        <a:p>
          <a:pPr algn="r" rtl="1"/>
          <a:r>
            <a:rPr lang="ar-TN" sz="1600" b="0" i="0" dirty="0"/>
            <a:t>القطاعات الاقتصادية المهددة</a:t>
          </a:r>
          <a:endParaRPr lang="ar-TN" sz="1600" noProof="0" dirty="0"/>
        </a:p>
      </dgm:t>
    </dgm:pt>
    <dgm:pt modelId="{A6C7707F-1951-4A02-8A43-02865BEA9C15}" type="parTrans" cxnId="{643E830E-3DCC-48E3-831F-046D2D531C76}">
      <dgm:prSet/>
      <dgm:spPr/>
      <dgm:t>
        <a:bodyPr/>
        <a:lstStyle/>
        <a:p>
          <a:endParaRPr lang="fr-FR"/>
        </a:p>
      </dgm:t>
    </dgm:pt>
    <dgm:pt modelId="{54B104F0-30EA-4BB3-B4B6-DD799AAF6C45}" type="sibTrans" cxnId="{643E830E-3DCC-48E3-831F-046D2D531C76}">
      <dgm:prSet/>
      <dgm:spPr/>
      <dgm:t>
        <a:bodyPr/>
        <a:lstStyle/>
        <a:p>
          <a:endParaRPr lang="fr-FR"/>
        </a:p>
      </dgm:t>
    </dgm:pt>
    <dgm:pt modelId="{FFA6280F-E066-406B-90BD-532D30984F71}">
      <dgm:prSet phldrT="[Texte]" custScaleX="178975" custT="1" custLinFactNeighborX="-95858" custLinFactNeighborY="6398"/>
      <dgm:spPr/>
      <dgm:t>
        <a:bodyPr/>
        <a:lstStyle/>
        <a:p>
          <a:pPr algn="r" rtl="1"/>
          <a:r>
            <a:rPr lang="ar-TN" sz="1600" b="0" i="0" dirty="0"/>
            <a:t>استحالة العمل عن بعد</a:t>
          </a:r>
          <a:endParaRPr lang="ar-TN" sz="1600" noProof="0" dirty="0"/>
        </a:p>
      </dgm:t>
    </dgm:pt>
    <dgm:pt modelId="{8F10CB13-4C42-4D7D-876B-CFC5D688CDAC}" type="parTrans" cxnId="{16FA3283-2931-4867-BFF1-EB88E8E3D4FB}">
      <dgm:prSet/>
      <dgm:spPr/>
      <dgm:t>
        <a:bodyPr/>
        <a:lstStyle/>
        <a:p>
          <a:endParaRPr lang="fr-FR"/>
        </a:p>
      </dgm:t>
    </dgm:pt>
    <dgm:pt modelId="{2D46751C-FADB-4CD7-AB81-5300361C2D27}" type="sibTrans" cxnId="{16FA3283-2931-4867-BFF1-EB88E8E3D4FB}">
      <dgm:prSet/>
      <dgm:spPr/>
      <dgm:t>
        <a:bodyPr/>
        <a:lstStyle/>
        <a:p>
          <a:endParaRPr lang="fr-FR"/>
        </a:p>
      </dgm:t>
    </dgm:pt>
    <dgm:pt modelId="{392C842E-0BB4-4685-B00F-140B1E26B494}">
      <dgm:prSet phldrT="[Texte]" custT="1">
        <dgm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dgm:style>
      </dgm:prSet>
      <dgm:spPr>
        <a:solidFill>
          <a:schemeClr val="accent1"/>
        </a:solidFill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ar-TN" sz="1800" noProof="0" dirty="0">
              <a:solidFill>
                <a:schemeClr val="tx1"/>
              </a:solidFill>
            </a:rPr>
            <a:t> </a:t>
          </a:r>
          <a:r>
            <a:rPr lang="ar-TN" sz="1800" noProof="0" dirty="0"/>
            <a:t>التصاريح/</a:t>
          </a:r>
          <a:endParaRPr lang="ar-TN" sz="1800" noProof="0" dirty="0">
            <a:solidFill>
              <a:schemeClr val="tx1"/>
            </a:solidFill>
          </a:endParaRPr>
        </a:p>
        <a:p>
          <a:pPr lvl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TN" sz="1800" noProof="0" dirty="0"/>
            <a:t>التراخيص</a:t>
          </a:r>
          <a:endParaRPr lang="ar-TN" sz="1800" noProof="0" dirty="0">
            <a:solidFill>
              <a:schemeClr val="tx1"/>
            </a:solidFill>
          </a:endParaRPr>
        </a:p>
      </dgm:t>
    </dgm:pt>
    <dgm:pt modelId="{5D34842A-1436-4239-B461-F9110983F486}" type="sibTrans" cxnId="{D06EB39C-4812-4C55-9A81-46545E921507}">
      <dgm:prSet/>
      <dgm:spPr/>
      <dgm:t>
        <a:bodyPr/>
        <a:lstStyle/>
        <a:p>
          <a:endParaRPr lang="ar-TN" sz="1200" noProof="0" dirty="0"/>
        </a:p>
      </dgm:t>
    </dgm:pt>
    <dgm:pt modelId="{0D5C5AE7-FE1A-4736-BC21-0F6C69769A11}" type="parTrans" cxnId="{D06EB39C-4812-4C55-9A81-46545E921507}">
      <dgm:prSet/>
      <dgm:spPr/>
      <dgm:t>
        <a:bodyPr/>
        <a:lstStyle/>
        <a:p>
          <a:endParaRPr lang="ar-TN" sz="1200" noProof="0" dirty="0"/>
        </a:p>
      </dgm:t>
    </dgm:pt>
    <dgm:pt modelId="{ED54005B-C1B3-44F0-A281-8F7786D84BC1}">
      <dgm:prSet phldrT="[Texte]" custT="1"/>
      <dgm:spPr/>
      <dgm:t>
        <a:bodyPr/>
        <a:lstStyle/>
        <a:p>
          <a:pPr algn="r" rtl="1"/>
          <a:r>
            <a:rPr lang="ar-TN" sz="1600" b="0" i="0" dirty="0"/>
            <a:t>وسائل نقل تحترم المعايير</a:t>
          </a:r>
          <a:r>
            <a:rPr lang="ar-TN" sz="1600" dirty="0"/>
            <a:t/>
          </a:r>
          <a:br>
            <a:rPr lang="ar-TN" sz="1600" dirty="0"/>
          </a:br>
          <a:endParaRPr lang="ar-TN" sz="1600" noProof="0" dirty="0"/>
        </a:p>
      </dgm:t>
    </dgm:pt>
    <dgm:pt modelId="{83432DFB-205C-4CE9-B223-660111B7E6B3}" type="parTrans" cxnId="{869D33DD-09EC-48D7-882C-158CF6B096CB}">
      <dgm:prSet/>
      <dgm:spPr/>
      <dgm:t>
        <a:bodyPr/>
        <a:lstStyle/>
        <a:p>
          <a:endParaRPr lang="fr-FR"/>
        </a:p>
      </dgm:t>
    </dgm:pt>
    <dgm:pt modelId="{7BEF6BB7-7B77-4F4C-A939-B21CD69BCE3A}" type="sibTrans" cxnId="{869D33DD-09EC-48D7-882C-158CF6B096CB}">
      <dgm:prSet/>
      <dgm:spPr/>
      <dgm:t>
        <a:bodyPr/>
        <a:lstStyle/>
        <a:p>
          <a:endParaRPr lang="fr-FR"/>
        </a:p>
      </dgm:t>
    </dgm:pt>
    <dgm:pt modelId="{6D04AF4B-2099-4FE4-B219-A78BB0B31910}" type="pres">
      <dgm:prSet presAssocID="{F6F892B7-D913-4483-9F6C-A0584DADAA03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fr-FR"/>
        </a:p>
      </dgm:t>
    </dgm:pt>
    <dgm:pt modelId="{6FA068D6-00E8-4896-BF22-4871CA9FBC53}" type="pres">
      <dgm:prSet presAssocID="{69693A08-B596-4E86-A822-D8A5D5EC65E9}" presName="composite" presStyleCnt="0"/>
      <dgm:spPr/>
    </dgm:pt>
    <dgm:pt modelId="{6EFD0C3B-886A-4C8D-BF6B-63E4C80F23D3}" type="pres">
      <dgm:prSet presAssocID="{69693A08-B596-4E86-A822-D8A5D5EC65E9}" presName="bentUpArrow1" presStyleLbl="alignImgPlace1" presStyleIdx="0" presStyleCnt="3" custAng="0" custFlipHor="1" custScaleX="83101" custScaleY="40169" custLinFactX="220404" custLinFactNeighborX="300000" custLinFactNeighborY="-27865"/>
      <dgm:spPr/>
    </dgm:pt>
    <dgm:pt modelId="{90060201-6D48-4A0D-A8DC-390B96926407}" type="pres">
      <dgm:prSet presAssocID="{69693A08-B596-4E86-A822-D8A5D5EC65E9}" presName="ParentText" presStyleLbl="node1" presStyleIdx="0" presStyleCnt="4" custScaleX="96720" custScaleY="79976" custLinFactX="169277" custLinFactNeighborX="200000" custLinFactNeighborY="486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AF4472B-8D86-4E80-9859-6ACFCD6A828C}" type="pres">
      <dgm:prSet presAssocID="{69693A08-B596-4E86-A822-D8A5D5EC65E9}" presName="ChildText" presStyleLbl="revTx" presStyleIdx="0" presStyleCnt="3" custScaleX="292694" custLinFactX="59018" custLinFactNeighborX="100000" custLinFactNeighborY="771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928C16F-754B-4B5B-9896-61B95B166108}" type="pres">
      <dgm:prSet presAssocID="{43CBE4A2-432A-4FC8-9EC4-F2335A56F527}" presName="sibTrans" presStyleCnt="0"/>
      <dgm:spPr/>
    </dgm:pt>
    <dgm:pt modelId="{3E20544A-FE83-460B-851A-7D3EC4E932E9}" type="pres">
      <dgm:prSet presAssocID="{96DBFE56-B35B-4F47-B0C8-19D598C04CD9}" presName="composite" presStyleCnt="0"/>
      <dgm:spPr/>
    </dgm:pt>
    <dgm:pt modelId="{EB3BDC53-4095-446D-8C2B-A7BBE6739A82}" type="pres">
      <dgm:prSet presAssocID="{96DBFE56-B35B-4F47-B0C8-19D598C04CD9}" presName="bentUpArrow1" presStyleLbl="alignImgPlace1" presStyleIdx="1" presStyleCnt="3" custFlipHor="1" custScaleX="77469" custScaleY="46767" custLinFactX="81254" custLinFactNeighborX="100000" custLinFactNeighborY="-5626"/>
      <dgm:spPr/>
    </dgm:pt>
    <dgm:pt modelId="{59E6DFC5-693B-4F6B-B826-7C10B05AF4E8}" type="pres">
      <dgm:prSet presAssocID="{96DBFE56-B35B-4F47-B0C8-19D598C04CD9}" presName="ParentText" presStyleLbl="node1" presStyleIdx="1" presStyleCnt="4" custScaleX="106907" custScaleY="77791" custLinFactX="47158" custLinFactNeighborX="100000" custLinFactNeighborY="26671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232996-E3E6-47ED-9D0D-5179A51F5B1F}" type="pres">
      <dgm:prSet presAssocID="{96DBFE56-B35B-4F47-B0C8-19D598C04CD9}" presName="ChildText" presStyleLbl="revTx" presStyleIdx="1" presStyleCnt="3" custScaleX="299686" custScaleY="44530" custLinFactX="-55961" custLinFactNeighborX="-100000" custLinFactNeighborY="2815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892269D-15F1-4880-96AF-28EE12FA2681}" type="pres">
      <dgm:prSet presAssocID="{1DFDDFAB-D88D-400E-BF56-958A9B421B7D}" presName="sibTrans" presStyleCnt="0"/>
      <dgm:spPr/>
    </dgm:pt>
    <dgm:pt modelId="{C67BC3AC-9F2E-47C8-8EB7-39E69BE23B8E}" type="pres">
      <dgm:prSet presAssocID="{392C842E-0BB4-4685-B00F-140B1E26B494}" presName="composite" presStyleCnt="0"/>
      <dgm:spPr/>
    </dgm:pt>
    <dgm:pt modelId="{DA3123B2-EBB3-4890-9976-DD0A962BF6F0}" type="pres">
      <dgm:prSet presAssocID="{392C842E-0BB4-4685-B00F-140B1E26B494}" presName="bentUpArrow1" presStyleLbl="alignImgPlace1" presStyleIdx="2" presStyleCnt="3" custAng="0" custFlipHor="1" custScaleX="97165" custScaleY="47229" custLinFactX="-88252" custLinFactNeighborX="-100000" custLinFactNeighborY="-17145"/>
      <dgm:spPr/>
    </dgm:pt>
    <dgm:pt modelId="{5A2F63FE-E460-48A2-904E-22F9C81D2EC0}" type="pres">
      <dgm:prSet presAssocID="{392C842E-0BB4-4685-B00F-140B1E26B494}" presName="ParentText" presStyleLbl="node1" presStyleIdx="2" presStyleCnt="4" custScaleX="102046" custScaleY="63428" custLinFactNeighborX="-73009" custLinFactNeighborY="2258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AF5EB58-4DB8-4227-BF35-0D7D796BEC7D}" type="pres">
      <dgm:prSet presAssocID="{392C842E-0BB4-4685-B00F-140B1E26B494}" presName="ChildText" presStyleLbl="revTx" presStyleIdx="2" presStyleCnt="3" custScaleX="151480" custScaleY="76579" custLinFactX="-173339" custLinFactNeighborX="-200000" custLinFactNeighborY="2208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5B33773-3C07-441E-9F1E-25C8493056B9}" type="pres">
      <dgm:prSet presAssocID="{5D34842A-1436-4239-B461-F9110983F486}" presName="sibTrans" presStyleCnt="0"/>
      <dgm:spPr/>
    </dgm:pt>
    <dgm:pt modelId="{A9A24128-C34D-4BF5-9485-A345729A3B71}" type="pres">
      <dgm:prSet presAssocID="{3D2BD82D-747B-45EF-849F-3FCA81A74B36}" presName="composite" presStyleCnt="0"/>
      <dgm:spPr/>
    </dgm:pt>
    <dgm:pt modelId="{C0D4CB45-564D-422E-AD62-202CE44435A2}" type="pres">
      <dgm:prSet presAssocID="{3D2BD82D-747B-45EF-849F-3FCA81A74B36}" presName="ParentText" presStyleLbl="node1" presStyleIdx="3" presStyleCnt="4" custScaleX="70896" custScaleY="61646" custLinFactX="-105880" custLinFactNeighborX="-200000" custLinFactNeighborY="1450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443FB60D-73FD-4BF4-82EF-51467B3531AD}" type="presOf" srcId="{392C842E-0BB4-4685-B00F-140B1E26B494}" destId="{5A2F63FE-E460-48A2-904E-22F9C81D2EC0}" srcOrd="0" destOrd="0" presId="urn:microsoft.com/office/officeart/2005/8/layout/StepDownProcess"/>
    <dgm:cxn modelId="{DE3A80A8-7F39-4FD6-90F3-024169282FF6}" srcId="{F6F892B7-D913-4483-9F6C-A0584DADAA03}" destId="{3D2BD82D-747B-45EF-849F-3FCA81A74B36}" srcOrd="3" destOrd="0" parTransId="{FEF161B5-812A-4358-884E-6DAFB232B82F}" sibTransId="{3D121926-46BA-443D-89A4-F2605E3C99D2}"/>
    <dgm:cxn modelId="{78457339-28A3-4D75-AD99-624B6AAEB400}" type="presOf" srcId="{81F74083-4672-4CCE-917A-CE33C0F424FC}" destId="{DAF4472B-8D86-4E80-9859-6ACFCD6A828C}" srcOrd="0" destOrd="0" presId="urn:microsoft.com/office/officeart/2005/8/layout/StepDownProcess"/>
    <dgm:cxn modelId="{576B57BB-0B1C-4DC8-840C-8A59884C00E8}" srcId="{69693A08-B596-4E86-A822-D8A5D5EC65E9}" destId="{FC91F564-BD49-4696-8B2B-345C8CC47313}" srcOrd="1" destOrd="0" parTransId="{9A9408A0-E11A-4D59-8B34-900202814140}" sibTransId="{D1629013-FD2C-4416-91FB-552EA932E8C9}"/>
    <dgm:cxn modelId="{E83BDB2A-D344-4B75-A6C5-DDD01370B3A4}" type="presOf" srcId="{ED54005B-C1B3-44F0-A281-8F7786D84BC1}" destId="{10232996-E3E6-47ED-9D0D-5179A51F5B1F}" srcOrd="0" destOrd="1" presId="urn:microsoft.com/office/officeart/2005/8/layout/StepDownProcess"/>
    <dgm:cxn modelId="{4BF69EEE-4E87-4BC3-8093-20AAC1B549CA}" type="presOf" srcId="{3D2BD82D-747B-45EF-849F-3FCA81A74B36}" destId="{C0D4CB45-564D-422E-AD62-202CE44435A2}" srcOrd="0" destOrd="0" presId="urn:microsoft.com/office/officeart/2005/8/layout/StepDownProcess"/>
    <dgm:cxn modelId="{C2B33DC1-49D3-4FDB-9D3A-362939DBFA37}" srcId="{F6F892B7-D913-4483-9F6C-A0584DADAA03}" destId="{96DBFE56-B35B-4F47-B0C8-19D598C04CD9}" srcOrd="1" destOrd="0" parTransId="{7BE8CD30-E858-4E98-9CE8-31A4D5AF6F47}" sibTransId="{1DFDDFAB-D88D-400E-BF56-958A9B421B7D}"/>
    <dgm:cxn modelId="{3BB13B9A-1A5E-4CDD-AF42-3F58201E3CC7}" type="presOf" srcId="{FFA6280F-E066-406B-90BD-532D30984F71}" destId="{DAF4472B-8D86-4E80-9859-6ACFCD6A828C}" srcOrd="0" destOrd="3" presId="urn:microsoft.com/office/officeart/2005/8/layout/StepDownProcess"/>
    <dgm:cxn modelId="{B37BE14A-0ACA-45FF-95AB-DD951EBA77B4}" type="presOf" srcId="{FC91F564-BD49-4696-8B2B-345C8CC47313}" destId="{DAF4472B-8D86-4E80-9859-6ACFCD6A828C}" srcOrd="0" destOrd="1" presId="urn:microsoft.com/office/officeart/2005/8/layout/StepDownProcess"/>
    <dgm:cxn modelId="{643E830E-3DCC-48E3-831F-046D2D531C76}" srcId="{69693A08-B596-4E86-A822-D8A5D5EC65E9}" destId="{8C6BA62B-58FA-447F-866E-4540B10CA4DD}" srcOrd="2" destOrd="0" parTransId="{A6C7707F-1951-4A02-8A43-02865BEA9C15}" sibTransId="{54B104F0-30EA-4BB3-B4B6-DD799AAF6C45}"/>
    <dgm:cxn modelId="{869D33DD-09EC-48D7-882C-158CF6B096CB}" srcId="{96DBFE56-B35B-4F47-B0C8-19D598C04CD9}" destId="{ED54005B-C1B3-44F0-A281-8F7786D84BC1}" srcOrd="1" destOrd="0" parTransId="{83432DFB-205C-4CE9-B223-660111B7E6B3}" sibTransId="{7BEF6BB7-7B77-4F4C-A939-B21CD69BCE3A}"/>
    <dgm:cxn modelId="{5F046413-F4E6-4A3E-AA1D-7D8F8C7A28C9}" type="presOf" srcId="{F6F892B7-D913-4483-9F6C-A0584DADAA03}" destId="{6D04AF4B-2099-4FE4-B219-A78BB0B31910}" srcOrd="0" destOrd="0" presId="urn:microsoft.com/office/officeart/2005/8/layout/StepDownProcess"/>
    <dgm:cxn modelId="{1733C1D9-3E8A-4BF2-A858-EC02446DE6D3}" type="presOf" srcId="{8C6BA62B-58FA-447F-866E-4540B10CA4DD}" destId="{DAF4472B-8D86-4E80-9859-6ACFCD6A828C}" srcOrd="0" destOrd="2" presId="urn:microsoft.com/office/officeart/2005/8/layout/StepDownProcess"/>
    <dgm:cxn modelId="{0A8BCA28-BFD7-4881-92D7-7324BD1D43A7}" type="presOf" srcId="{278FDCD2-45A9-41AF-A26F-293E3C59FFD2}" destId="{10232996-E3E6-47ED-9D0D-5179A51F5B1F}" srcOrd="0" destOrd="0" presId="urn:microsoft.com/office/officeart/2005/8/layout/StepDownProcess"/>
    <dgm:cxn modelId="{6D6CBEA2-F84B-45E3-8DF7-5B7FF9F97A5E}" srcId="{392C842E-0BB4-4685-B00F-140B1E26B494}" destId="{E274237E-3FBA-4360-8F77-CB5490379477}" srcOrd="0" destOrd="0" parTransId="{D1C27B5A-6AFA-42B5-8FCF-8E4A21F17881}" sibTransId="{DECEE326-42FE-4220-BDEB-65DFC045395D}"/>
    <dgm:cxn modelId="{8A1AE775-3ABA-4D09-96A3-C4B336DB7690}" srcId="{96DBFE56-B35B-4F47-B0C8-19D598C04CD9}" destId="{278FDCD2-45A9-41AF-A26F-293E3C59FFD2}" srcOrd="0" destOrd="0" parTransId="{0203C183-4AC2-47BC-917E-104A2EB9852A}" sibTransId="{A49D429F-0662-47C5-ADB0-1EAB1259EC13}"/>
    <dgm:cxn modelId="{F0C2731E-C3D8-46A5-8B32-CEE5D2EBDA98}" type="presOf" srcId="{96DBFE56-B35B-4F47-B0C8-19D598C04CD9}" destId="{59E6DFC5-693B-4F6B-B826-7C10B05AF4E8}" srcOrd="0" destOrd="0" presId="urn:microsoft.com/office/officeart/2005/8/layout/StepDownProcess"/>
    <dgm:cxn modelId="{9810A307-7374-48AA-AEAD-5C2DAD38D331}" srcId="{F6F892B7-D913-4483-9F6C-A0584DADAA03}" destId="{69693A08-B596-4E86-A822-D8A5D5EC65E9}" srcOrd="0" destOrd="0" parTransId="{59D32CDD-FFFE-4D98-9B42-CFEB0F152906}" sibTransId="{43CBE4A2-432A-4FC8-9EC4-F2335A56F527}"/>
    <dgm:cxn modelId="{88AB033B-7790-436B-9358-B2AA2F7B8AC4}" type="presOf" srcId="{E274237E-3FBA-4360-8F77-CB5490379477}" destId="{7AF5EB58-4DB8-4227-BF35-0D7D796BEC7D}" srcOrd="0" destOrd="0" presId="urn:microsoft.com/office/officeart/2005/8/layout/StepDownProcess"/>
    <dgm:cxn modelId="{D06EB39C-4812-4C55-9A81-46545E921507}" srcId="{F6F892B7-D913-4483-9F6C-A0584DADAA03}" destId="{392C842E-0BB4-4685-B00F-140B1E26B494}" srcOrd="2" destOrd="0" parTransId="{0D5C5AE7-FE1A-4736-BC21-0F6C69769A11}" sibTransId="{5D34842A-1436-4239-B461-F9110983F486}"/>
    <dgm:cxn modelId="{07BE2ABF-54AC-4F03-A410-37F552E8F6EA}" srcId="{69693A08-B596-4E86-A822-D8A5D5EC65E9}" destId="{81F74083-4672-4CCE-917A-CE33C0F424FC}" srcOrd="0" destOrd="0" parTransId="{8C1F0EE1-005B-4A42-8406-A88C9EBB1980}" sibTransId="{FF139864-EA59-4774-B465-260F712F40E5}"/>
    <dgm:cxn modelId="{16FA3283-2931-4867-BFF1-EB88E8E3D4FB}" srcId="{69693A08-B596-4E86-A822-D8A5D5EC65E9}" destId="{FFA6280F-E066-406B-90BD-532D30984F71}" srcOrd="3" destOrd="0" parTransId="{8F10CB13-4C42-4D7D-876B-CFC5D688CDAC}" sibTransId="{2D46751C-FADB-4CD7-AB81-5300361C2D27}"/>
    <dgm:cxn modelId="{919DBD87-02ED-406F-A516-E7EA4DD16BF5}" type="presOf" srcId="{69693A08-B596-4E86-A822-D8A5D5EC65E9}" destId="{90060201-6D48-4A0D-A8DC-390B96926407}" srcOrd="0" destOrd="0" presId="urn:microsoft.com/office/officeart/2005/8/layout/StepDownProcess"/>
    <dgm:cxn modelId="{CB3ACBD7-72F8-46C6-8D2B-AC2393D3C82E}" type="presParOf" srcId="{6D04AF4B-2099-4FE4-B219-A78BB0B31910}" destId="{6FA068D6-00E8-4896-BF22-4871CA9FBC53}" srcOrd="0" destOrd="0" presId="urn:microsoft.com/office/officeart/2005/8/layout/StepDownProcess"/>
    <dgm:cxn modelId="{52E84EC1-D92B-4A02-9E95-9BABD5048C28}" type="presParOf" srcId="{6FA068D6-00E8-4896-BF22-4871CA9FBC53}" destId="{6EFD0C3B-886A-4C8D-BF6B-63E4C80F23D3}" srcOrd="0" destOrd="0" presId="urn:microsoft.com/office/officeart/2005/8/layout/StepDownProcess"/>
    <dgm:cxn modelId="{BE2867EB-4AA5-4FE8-B654-D2F378263BC8}" type="presParOf" srcId="{6FA068D6-00E8-4896-BF22-4871CA9FBC53}" destId="{90060201-6D48-4A0D-A8DC-390B96926407}" srcOrd="1" destOrd="0" presId="urn:microsoft.com/office/officeart/2005/8/layout/StepDownProcess"/>
    <dgm:cxn modelId="{2D6FC13F-9B9F-40CB-95D6-4047AE9B0154}" type="presParOf" srcId="{6FA068D6-00E8-4896-BF22-4871CA9FBC53}" destId="{DAF4472B-8D86-4E80-9859-6ACFCD6A828C}" srcOrd="2" destOrd="0" presId="urn:microsoft.com/office/officeart/2005/8/layout/StepDownProcess"/>
    <dgm:cxn modelId="{A0B5BE77-6A03-4E91-96D1-93B7A1F9910B}" type="presParOf" srcId="{6D04AF4B-2099-4FE4-B219-A78BB0B31910}" destId="{4928C16F-754B-4B5B-9896-61B95B166108}" srcOrd="1" destOrd="0" presId="urn:microsoft.com/office/officeart/2005/8/layout/StepDownProcess"/>
    <dgm:cxn modelId="{2B987136-D3D6-44FA-9CBB-99EB6439C59B}" type="presParOf" srcId="{6D04AF4B-2099-4FE4-B219-A78BB0B31910}" destId="{3E20544A-FE83-460B-851A-7D3EC4E932E9}" srcOrd="2" destOrd="0" presId="urn:microsoft.com/office/officeart/2005/8/layout/StepDownProcess"/>
    <dgm:cxn modelId="{C7283A93-C27A-4F8F-B8FF-56E597A257EF}" type="presParOf" srcId="{3E20544A-FE83-460B-851A-7D3EC4E932E9}" destId="{EB3BDC53-4095-446D-8C2B-A7BBE6739A82}" srcOrd="0" destOrd="0" presId="urn:microsoft.com/office/officeart/2005/8/layout/StepDownProcess"/>
    <dgm:cxn modelId="{94F94839-D141-484D-B40F-58B6A5B6588A}" type="presParOf" srcId="{3E20544A-FE83-460B-851A-7D3EC4E932E9}" destId="{59E6DFC5-693B-4F6B-B826-7C10B05AF4E8}" srcOrd="1" destOrd="0" presId="urn:microsoft.com/office/officeart/2005/8/layout/StepDownProcess"/>
    <dgm:cxn modelId="{366CF76A-6893-49CF-8D45-FC1ACD973446}" type="presParOf" srcId="{3E20544A-FE83-460B-851A-7D3EC4E932E9}" destId="{10232996-E3E6-47ED-9D0D-5179A51F5B1F}" srcOrd="2" destOrd="0" presId="urn:microsoft.com/office/officeart/2005/8/layout/StepDownProcess"/>
    <dgm:cxn modelId="{7C8BBD60-4779-482A-97BC-E1CB45598667}" type="presParOf" srcId="{6D04AF4B-2099-4FE4-B219-A78BB0B31910}" destId="{8892269D-15F1-4880-96AF-28EE12FA2681}" srcOrd="3" destOrd="0" presId="urn:microsoft.com/office/officeart/2005/8/layout/StepDownProcess"/>
    <dgm:cxn modelId="{42DAAA08-50A1-4BEC-8583-E103B6C5F856}" type="presParOf" srcId="{6D04AF4B-2099-4FE4-B219-A78BB0B31910}" destId="{C67BC3AC-9F2E-47C8-8EB7-39E69BE23B8E}" srcOrd="4" destOrd="0" presId="urn:microsoft.com/office/officeart/2005/8/layout/StepDownProcess"/>
    <dgm:cxn modelId="{CED65E39-71FF-4BEA-A4C3-46CBF4B416BD}" type="presParOf" srcId="{C67BC3AC-9F2E-47C8-8EB7-39E69BE23B8E}" destId="{DA3123B2-EBB3-4890-9976-DD0A962BF6F0}" srcOrd="0" destOrd="0" presId="urn:microsoft.com/office/officeart/2005/8/layout/StepDownProcess"/>
    <dgm:cxn modelId="{FDDB7D20-7144-4988-AB49-45E6BAEE5646}" type="presParOf" srcId="{C67BC3AC-9F2E-47C8-8EB7-39E69BE23B8E}" destId="{5A2F63FE-E460-48A2-904E-22F9C81D2EC0}" srcOrd="1" destOrd="0" presId="urn:microsoft.com/office/officeart/2005/8/layout/StepDownProcess"/>
    <dgm:cxn modelId="{F6AA6B0B-9EFB-4C8C-B68B-3A0239519FA0}" type="presParOf" srcId="{C67BC3AC-9F2E-47C8-8EB7-39E69BE23B8E}" destId="{7AF5EB58-4DB8-4227-BF35-0D7D796BEC7D}" srcOrd="2" destOrd="0" presId="urn:microsoft.com/office/officeart/2005/8/layout/StepDownProcess"/>
    <dgm:cxn modelId="{7BC7EF4E-444F-4FB3-AA56-05FCADBBD540}" type="presParOf" srcId="{6D04AF4B-2099-4FE4-B219-A78BB0B31910}" destId="{35B33773-3C07-441E-9F1E-25C8493056B9}" srcOrd="5" destOrd="0" presId="urn:microsoft.com/office/officeart/2005/8/layout/StepDownProcess"/>
    <dgm:cxn modelId="{08A302DE-E634-403C-8660-172A1896C729}" type="presParOf" srcId="{6D04AF4B-2099-4FE4-B219-A78BB0B31910}" destId="{A9A24128-C34D-4BF5-9485-A345729A3B71}" srcOrd="6" destOrd="0" presId="urn:microsoft.com/office/officeart/2005/8/layout/StepDownProcess"/>
    <dgm:cxn modelId="{1B77D6E2-AC67-4905-90F6-973EEEF0C588}" type="presParOf" srcId="{A9A24128-C34D-4BF5-9485-A345729A3B71}" destId="{C0D4CB45-564D-422E-AD62-202CE44435A2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89F4AD2-9B07-4F4B-9066-556EC1C5798C}" type="doc">
      <dgm:prSet loTypeId="urn:microsoft.com/office/officeart/2005/8/layout/cycle8" loCatId="" qsTypeId="urn:microsoft.com/office/officeart/2005/8/quickstyle/simple1" qsCatId="simple" csTypeId="urn:microsoft.com/office/officeart/2005/8/colors/accent1_2" csCatId="accent1" phldr="1"/>
      <dgm:spPr/>
    </dgm:pt>
    <dgm:pt modelId="{ADD064E8-818F-7B45-81A1-1B41C8E8D5F7}">
      <dgm:prSet phldrT="[Text]" custT="1"/>
      <dgm:spPr/>
      <dgm:t>
        <a:bodyPr/>
        <a:lstStyle/>
        <a:p>
          <a:r>
            <a:rPr lang="ar-TN" sz="1200" b="1" dirty="0"/>
            <a:t>الادوية </a:t>
          </a:r>
          <a:endParaRPr lang="en-GB" sz="1200" b="1" dirty="0"/>
        </a:p>
      </dgm:t>
    </dgm:pt>
    <dgm:pt modelId="{EDCEB4B2-6076-4E42-8FA3-F84D9C768EC3}" type="parTrans" cxnId="{4FA323EE-2360-B642-A9DD-9CD7BE76AB9C}">
      <dgm:prSet/>
      <dgm:spPr/>
      <dgm:t>
        <a:bodyPr/>
        <a:lstStyle/>
        <a:p>
          <a:endParaRPr lang="en-GB" sz="1200" b="1"/>
        </a:p>
      </dgm:t>
    </dgm:pt>
    <dgm:pt modelId="{C29D6084-9B43-6E44-AB1C-8CF8BE2D35CE}" type="sibTrans" cxnId="{4FA323EE-2360-B642-A9DD-9CD7BE76AB9C}">
      <dgm:prSet/>
      <dgm:spPr/>
      <dgm:t>
        <a:bodyPr/>
        <a:lstStyle/>
        <a:p>
          <a:endParaRPr lang="en-GB" sz="1200" b="1"/>
        </a:p>
      </dgm:t>
    </dgm:pt>
    <dgm:pt modelId="{A56A9162-A625-9D4B-BC5C-321F30265E20}">
      <dgm:prSet phldrT="[Text]" custT="1"/>
      <dgm:spPr/>
      <dgm:t>
        <a:bodyPr/>
        <a:lstStyle/>
        <a:p>
          <a:r>
            <a:rPr lang="ar-TN" sz="1200" b="1" dirty="0"/>
            <a:t>الصحة </a:t>
          </a:r>
          <a:endParaRPr lang="en-GB" sz="1200" b="1" dirty="0"/>
        </a:p>
      </dgm:t>
    </dgm:pt>
    <dgm:pt modelId="{3A4479EB-363F-314C-87F2-616E581E8FFE}" type="parTrans" cxnId="{956ADA1A-9D84-3841-B808-2D4248A73122}">
      <dgm:prSet/>
      <dgm:spPr/>
      <dgm:t>
        <a:bodyPr/>
        <a:lstStyle/>
        <a:p>
          <a:endParaRPr lang="en-GB" sz="1200" b="1"/>
        </a:p>
      </dgm:t>
    </dgm:pt>
    <dgm:pt modelId="{BF10948D-726B-CF40-BBB4-EEE77AA11620}" type="sibTrans" cxnId="{956ADA1A-9D84-3841-B808-2D4248A73122}">
      <dgm:prSet/>
      <dgm:spPr/>
      <dgm:t>
        <a:bodyPr/>
        <a:lstStyle/>
        <a:p>
          <a:endParaRPr lang="en-GB" sz="1200" b="1"/>
        </a:p>
      </dgm:t>
    </dgm:pt>
    <dgm:pt modelId="{B8534762-EC3A-FA49-AB42-207D7916E1E7}">
      <dgm:prSet phldrT="[Text]" custT="1"/>
      <dgm:spPr/>
      <dgm:t>
        <a:bodyPr/>
        <a:lstStyle/>
        <a:p>
          <a:pPr rtl="0"/>
          <a:r>
            <a:rPr lang="ar-TN" sz="1200" b="1" dirty="0"/>
            <a:t>الفلاحة </a:t>
          </a:r>
          <a:endParaRPr lang="en-GB" sz="1200" b="1" dirty="0"/>
        </a:p>
      </dgm:t>
    </dgm:pt>
    <dgm:pt modelId="{A6C0EA83-1DCE-1B47-AA85-210B3D8CD3C1}" type="parTrans" cxnId="{B4253E87-3935-FF4A-ABEF-A06CFBED94B3}">
      <dgm:prSet/>
      <dgm:spPr/>
      <dgm:t>
        <a:bodyPr/>
        <a:lstStyle/>
        <a:p>
          <a:endParaRPr lang="en-GB" sz="1200" b="1"/>
        </a:p>
      </dgm:t>
    </dgm:pt>
    <dgm:pt modelId="{76358928-89C6-E448-A9D3-2631C4BF5EE7}" type="sibTrans" cxnId="{B4253E87-3935-FF4A-ABEF-A06CFBED94B3}">
      <dgm:prSet/>
      <dgm:spPr/>
      <dgm:t>
        <a:bodyPr/>
        <a:lstStyle/>
        <a:p>
          <a:endParaRPr lang="en-GB" sz="1200" b="1"/>
        </a:p>
      </dgm:t>
    </dgm:pt>
    <dgm:pt modelId="{576D984D-FC10-DD4B-BA63-183D7E1896AE}">
      <dgm:prSet phldrT="[Text]" custT="1"/>
      <dgm:spPr/>
      <dgm:t>
        <a:bodyPr/>
        <a:lstStyle/>
        <a:p>
          <a:r>
            <a:rPr lang="ar-TN" sz="1200" dirty="0"/>
            <a:t>صناعة المواد الغذائية</a:t>
          </a:r>
          <a:endParaRPr lang="en-GB" sz="1200" b="1" dirty="0"/>
        </a:p>
      </dgm:t>
    </dgm:pt>
    <dgm:pt modelId="{B02FF01B-036B-054D-91A7-8D330BE18417}" type="parTrans" cxnId="{7F38E7B1-C1D4-D64C-AE01-BF91CBA73D87}">
      <dgm:prSet/>
      <dgm:spPr/>
      <dgm:t>
        <a:bodyPr/>
        <a:lstStyle/>
        <a:p>
          <a:endParaRPr lang="en-GB" sz="1200" b="1"/>
        </a:p>
      </dgm:t>
    </dgm:pt>
    <dgm:pt modelId="{37054DE3-4318-5F44-B19E-8D3906DB490C}" type="sibTrans" cxnId="{7F38E7B1-C1D4-D64C-AE01-BF91CBA73D87}">
      <dgm:prSet/>
      <dgm:spPr/>
      <dgm:t>
        <a:bodyPr/>
        <a:lstStyle/>
        <a:p>
          <a:endParaRPr lang="en-GB" sz="1200" b="1"/>
        </a:p>
      </dgm:t>
    </dgm:pt>
    <dgm:pt modelId="{2E66B9FF-6D9B-C040-9228-628349FBDF86}">
      <dgm:prSet custT="1"/>
      <dgm:spPr/>
      <dgm:t>
        <a:bodyPr/>
        <a:lstStyle/>
        <a:p>
          <a:r>
            <a:rPr lang="ar-TN" sz="1200" dirty="0"/>
            <a:t>صناعة النسيج</a:t>
          </a:r>
          <a:endParaRPr lang="ar-SA" sz="1200" b="1" i="0" dirty="0"/>
        </a:p>
      </dgm:t>
    </dgm:pt>
    <dgm:pt modelId="{1DC2652F-F69E-064C-97B7-94BD3FE9915B}" type="parTrans" cxnId="{DEC2CF3A-9810-094F-B0D3-67D8298E51DB}">
      <dgm:prSet/>
      <dgm:spPr/>
      <dgm:t>
        <a:bodyPr/>
        <a:lstStyle/>
        <a:p>
          <a:endParaRPr lang="en-GB"/>
        </a:p>
      </dgm:t>
    </dgm:pt>
    <dgm:pt modelId="{345C55B3-CE07-D74D-80CA-D55BEC8E3BDD}" type="sibTrans" cxnId="{DEC2CF3A-9810-094F-B0D3-67D8298E51DB}">
      <dgm:prSet/>
      <dgm:spPr/>
      <dgm:t>
        <a:bodyPr/>
        <a:lstStyle/>
        <a:p>
          <a:endParaRPr lang="en-GB"/>
        </a:p>
      </dgm:t>
    </dgm:pt>
    <dgm:pt modelId="{E3C03293-7C98-7D4D-B86D-23B68BDD6E0D}">
      <dgm:prSet custT="1"/>
      <dgm:spPr/>
      <dgm:t>
        <a:bodyPr/>
        <a:lstStyle/>
        <a:p>
          <a:pPr rtl="0"/>
          <a:r>
            <a:rPr lang="ar-SA" sz="1400" b="1" dirty="0"/>
            <a:t>البنوك</a:t>
          </a:r>
          <a:endParaRPr lang="en-GB" sz="1400" b="1" dirty="0"/>
        </a:p>
      </dgm:t>
    </dgm:pt>
    <dgm:pt modelId="{7E77D818-9DC5-CD49-B98D-4D70B8631750}" type="parTrans" cxnId="{D0C2DCA4-546D-374A-928D-EEB217F1DA17}">
      <dgm:prSet/>
      <dgm:spPr/>
      <dgm:t>
        <a:bodyPr/>
        <a:lstStyle/>
        <a:p>
          <a:endParaRPr lang="en-GB"/>
        </a:p>
      </dgm:t>
    </dgm:pt>
    <dgm:pt modelId="{21F3FE2A-FD11-4643-953A-8267983AC3E7}" type="sibTrans" cxnId="{D0C2DCA4-546D-374A-928D-EEB217F1DA17}">
      <dgm:prSet/>
      <dgm:spPr/>
      <dgm:t>
        <a:bodyPr/>
        <a:lstStyle/>
        <a:p>
          <a:endParaRPr lang="en-GB"/>
        </a:p>
      </dgm:t>
    </dgm:pt>
    <dgm:pt modelId="{56B22652-BF84-934F-BE3E-FC1EBD8D7129}" type="pres">
      <dgm:prSet presAssocID="{989F4AD2-9B07-4F4B-9066-556EC1C5798C}" presName="compositeShape" presStyleCnt="0">
        <dgm:presLayoutVars>
          <dgm:chMax val="7"/>
          <dgm:dir/>
          <dgm:resizeHandles val="exact"/>
        </dgm:presLayoutVars>
      </dgm:prSet>
      <dgm:spPr/>
    </dgm:pt>
    <dgm:pt modelId="{45D7478E-C797-BD45-A0DE-859B66B30240}" type="pres">
      <dgm:prSet presAssocID="{989F4AD2-9B07-4F4B-9066-556EC1C5798C}" presName="wedge1" presStyleLbl="node1" presStyleIdx="0" presStyleCnt="6"/>
      <dgm:spPr/>
      <dgm:t>
        <a:bodyPr/>
        <a:lstStyle/>
        <a:p>
          <a:endParaRPr lang="fr-FR"/>
        </a:p>
      </dgm:t>
    </dgm:pt>
    <dgm:pt modelId="{04CFBA95-C3A1-674F-A9A7-92F627173104}" type="pres">
      <dgm:prSet presAssocID="{989F4AD2-9B07-4F4B-9066-556EC1C5798C}" presName="dummy1a" presStyleCnt="0"/>
      <dgm:spPr/>
    </dgm:pt>
    <dgm:pt modelId="{672AFAE7-C28D-5C43-8E56-24D00B4658F3}" type="pres">
      <dgm:prSet presAssocID="{989F4AD2-9B07-4F4B-9066-556EC1C5798C}" presName="dummy1b" presStyleCnt="0"/>
      <dgm:spPr/>
    </dgm:pt>
    <dgm:pt modelId="{4ADF3FDE-DCCC-E345-AE4B-F53FF685B93E}" type="pres">
      <dgm:prSet presAssocID="{989F4AD2-9B07-4F4B-9066-556EC1C5798C}" presName="wedge1Tx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4785A2B-391E-964C-B612-26EEC4F9F592}" type="pres">
      <dgm:prSet presAssocID="{989F4AD2-9B07-4F4B-9066-556EC1C5798C}" presName="wedge2" presStyleLbl="node1" presStyleIdx="1" presStyleCnt="6"/>
      <dgm:spPr/>
      <dgm:t>
        <a:bodyPr/>
        <a:lstStyle/>
        <a:p>
          <a:endParaRPr lang="fr-FR"/>
        </a:p>
      </dgm:t>
    </dgm:pt>
    <dgm:pt modelId="{E702D450-16E8-3443-8611-D45AE1B2D0ED}" type="pres">
      <dgm:prSet presAssocID="{989F4AD2-9B07-4F4B-9066-556EC1C5798C}" presName="dummy2a" presStyleCnt="0"/>
      <dgm:spPr/>
    </dgm:pt>
    <dgm:pt modelId="{2E3FF456-53E1-9045-8AC0-7A8EF5BEE00E}" type="pres">
      <dgm:prSet presAssocID="{989F4AD2-9B07-4F4B-9066-556EC1C5798C}" presName="dummy2b" presStyleCnt="0"/>
      <dgm:spPr/>
    </dgm:pt>
    <dgm:pt modelId="{D4BA861E-BDEB-5046-A4D9-77EC1F583C6E}" type="pres">
      <dgm:prSet presAssocID="{989F4AD2-9B07-4F4B-9066-556EC1C5798C}" presName="wedge2Tx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87D0869-B3E1-3545-A69F-D4BDC585A417}" type="pres">
      <dgm:prSet presAssocID="{989F4AD2-9B07-4F4B-9066-556EC1C5798C}" presName="wedge3" presStyleLbl="node1" presStyleIdx="2" presStyleCnt="6"/>
      <dgm:spPr/>
      <dgm:t>
        <a:bodyPr/>
        <a:lstStyle/>
        <a:p>
          <a:endParaRPr lang="fr-FR"/>
        </a:p>
      </dgm:t>
    </dgm:pt>
    <dgm:pt modelId="{77B966B0-8465-5041-978E-6786E8D3BC47}" type="pres">
      <dgm:prSet presAssocID="{989F4AD2-9B07-4F4B-9066-556EC1C5798C}" presName="dummy3a" presStyleCnt="0"/>
      <dgm:spPr/>
    </dgm:pt>
    <dgm:pt modelId="{B9EAEC1A-6D1C-E641-BB52-FAF3462C82B5}" type="pres">
      <dgm:prSet presAssocID="{989F4AD2-9B07-4F4B-9066-556EC1C5798C}" presName="dummy3b" presStyleCnt="0"/>
      <dgm:spPr/>
    </dgm:pt>
    <dgm:pt modelId="{3AF28FFA-646A-DB44-A334-0C1F367A2757}" type="pres">
      <dgm:prSet presAssocID="{989F4AD2-9B07-4F4B-9066-556EC1C5798C}" presName="wedge3Tx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03F795E-7752-B745-836A-0050E6C66EDB}" type="pres">
      <dgm:prSet presAssocID="{989F4AD2-9B07-4F4B-9066-556EC1C5798C}" presName="wedge4" presStyleLbl="node1" presStyleIdx="3" presStyleCnt="6"/>
      <dgm:spPr/>
      <dgm:t>
        <a:bodyPr/>
        <a:lstStyle/>
        <a:p>
          <a:endParaRPr lang="fr-FR"/>
        </a:p>
      </dgm:t>
    </dgm:pt>
    <dgm:pt modelId="{1D879B8A-EA26-B54E-9B32-0459EDA0D996}" type="pres">
      <dgm:prSet presAssocID="{989F4AD2-9B07-4F4B-9066-556EC1C5798C}" presName="dummy4a" presStyleCnt="0"/>
      <dgm:spPr/>
    </dgm:pt>
    <dgm:pt modelId="{87790641-EDEE-0846-AC73-9A4649887428}" type="pres">
      <dgm:prSet presAssocID="{989F4AD2-9B07-4F4B-9066-556EC1C5798C}" presName="dummy4b" presStyleCnt="0"/>
      <dgm:spPr/>
    </dgm:pt>
    <dgm:pt modelId="{0A73E1ED-0C9A-EF42-8BD9-5695BFE26EE6}" type="pres">
      <dgm:prSet presAssocID="{989F4AD2-9B07-4F4B-9066-556EC1C5798C}" presName="wedge4Tx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49E04BD-E7E9-9A47-9E19-C630BF04DCBF}" type="pres">
      <dgm:prSet presAssocID="{989F4AD2-9B07-4F4B-9066-556EC1C5798C}" presName="wedge5" presStyleLbl="node1" presStyleIdx="4" presStyleCnt="6" custLinFactNeighborY="-1669"/>
      <dgm:spPr/>
      <dgm:t>
        <a:bodyPr/>
        <a:lstStyle/>
        <a:p>
          <a:endParaRPr lang="fr-FR"/>
        </a:p>
      </dgm:t>
    </dgm:pt>
    <dgm:pt modelId="{EF041C25-9313-2345-A180-1DDA04774DA6}" type="pres">
      <dgm:prSet presAssocID="{989F4AD2-9B07-4F4B-9066-556EC1C5798C}" presName="dummy5a" presStyleCnt="0"/>
      <dgm:spPr/>
    </dgm:pt>
    <dgm:pt modelId="{674CF70F-F100-144A-9CB1-8C19F871730F}" type="pres">
      <dgm:prSet presAssocID="{989F4AD2-9B07-4F4B-9066-556EC1C5798C}" presName="dummy5b" presStyleCnt="0"/>
      <dgm:spPr/>
    </dgm:pt>
    <dgm:pt modelId="{F90ECF21-59B8-AC4C-BCAC-C2656DD93903}" type="pres">
      <dgm:prSet presAssocID="{989F4AD2-9B07-4F4B-9066-556EC1C5798C}" presName="wedge5Tx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5164F73-B5D9-AF45-907F-5C842DB2CD33}" type="pres">
      <dgm:prSet presAssocID="{989F4AD2-9B07-4F4B-9066-556EC1C5798C}" presName="wedge6" presStyleLbl="node1" presStyleIdx="5" presStyleCnt="6"/>
      <dgm:spPr/>
      <dgm:t>
        <a:bodyPr/>
        <a:lstStyle/>
        <a:p>
          <a:endParaRPr lang="fr-FR"/>
        </a:p>
      </dgm:t>
    </dgm:pt>
    <dgm:pt modelId="{DF2179B3-B300-2048-BA42-A29BE6B9FF59}" type="pres">
      <dgm:prSet presAssocID="{989F4AD2-9B07-4F4B-9066-556EC1C5798C}" presName="dummy6a" presStyleCnt="0"/>
      <dgm:spPr/>
    </dgm:pt>
    <dgm:pt modelId="{AF4B82C2-F7F7-D749-9F13-114823850159}" type="pres">
      <dgm:prSet presAssocID="{989F4AD2-9B07-4F4B-9066-556EC1C5798C}" presName="dummy6b" presStyleCnt="0"/>
      <dgm:spPr/>
    </dgm:pt>
    <dgm:pt modelId="{3C1C97AB-B11D-224A-BCF5-FFB8F327E636}" type="pres">
      <dgm:prSet presAssocID="{989F4AD2-9B07-4F4B-9066-556EC1C5798C}" presName="wedge6Tx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7A3113C-4A76-1F48-B2AB-8E12708DEF81}" type="pres">
      <dgm:prSet presAssocID="{C29D6084-9B43-6E44-AB1C-8CF8BE2D35CE}" presName="arrowWedge1" presStyleLbl="fgSibTrans2D1" presStyleIdx="0" presStyleCnt="6"/>
      <dgm:spPr/>
    </dgm:pt>
    <dgm:pt modelId="{3F76037E-86D5-0A4E-B322-CB73CDBEA3B5}" type="pres">
      <dgm:prSet presAssocID="{BF10948D-726B-CF40-BBB4-EEE77AA11620}" presName="arrowWedge2" presStyleLbl="fgSibTrans2D1" presStyleIdx="1" presStyleCnt="6"/>
      <dgm:spPr/>
    </dgm:pt>
    <dgm:pt modelId="{AF18CC33-5888-C649-BDF1-E13928EC7D33}" type="pres">
      <dgm:prSet presAssocID="{76358928-89C6-E448-A9D3-2631C4BF5EE7}" presName="arrowWedge3" presStyleLbl="fgSibTrans2D1" presStyleIdx="2" presStyleCnt="6"/>
      <dgm:spPr/>
    </dgm:pt>
    <dgm:pt modelId="{CC50A46C-CAD1-1240-9216-9B7843B3A106}" type="pres">
      <dgm:prSet presAssocID="{37054DE3-4318-5F44-B19E-8D3906DB490C}" presName="arrowWedge4" presStyleLbl="fgSibTrans2D1" presStyleIdx="3" presStyleCnt="6"/>
      <dgm:spPr/>
    </dgm:pt>
    <dgm:pt modelId="{A65FE5DE-8F4C-3944-B81E-70857227F2E4}" type="pres">
      <dgm:prSet presAssocID="{345C55B3-CE07-D74D-80CA-D55BEC8E3BDD}" presName="arrowWedge5" presStyleLbl="fgSibTrans2D1" presStyleIdx="4" presStyleCnt="6"/>
      <dgm:spPr/>
    </dgm:pt>
    <dgm:pt modelId="{FF7B64AB-9B48-1A49-8675-C1FEA60CD287}" type="pres">
      <dgm:prSet presAssocID="{21F3FE2A-FD11-4643-953A-8267983AC3E7}" presName="arrowWedge6" presStyleLbl="fgSibTrans2D1" presStyleIdx="5" presStyleCnt="6"/>
      <dgm:spPr/>
    </dgm:pt>
  </dgm:ptLst>
  <dgm:cxnLst>
    <dgm:cxn modelId="{6F9A17CF-DFF2-7841-8F05-5B6A21CF7E26}" type="presOf" srcId="{576D984D-FC10-DD4B-BA63-183D7E1896AE}" destId="{0A73E1ED-0C9A-EF42-8BD9-5695BFE26EE6}" srcOrd="1" destOrd="0" presId="urn:microsoft.com/office/officeart/2005/8/layout/cycle8"/>
    <dgm:cxn modelId="{B4253E87-3935-FF4A-ABEF-A06CFBED94B3}" srcId="{989F4AD2-9B07-4F4B-9066-556EC1C5798C}" destId="{B8534762-EC3A-FA49-AB42-207D7916E1E7}" srcOrd="2" destOrd="0" parTransId="{A6C0EA83-1DCE-1B47-AA85-210B3D8CD3C1}" sibTransId="{76358928-89C6-E448-A9D3-2631C4BF5EE7}"/>
    <dgm:cxn modelId="{F81934D1-1566-A547-8BF2-E27FFCFA2C57}" type="presOf" srcId="{ADD064E8-818F-7B45-81A1-1B41C8E8D5F7}" destId="{45D7478E-C797-BD45-A0DE-859B66B30240}" srcOrd="0" destOrd="0" presId="urn:microsoft.com/office/officeart/2005/8/layout/cycle8"/>
    <dgm:cxn modelId="{5BD399E8-8027-8949-B5AD-2AD5427888AC}" type="presOf" srcId="{B8534762-EC3A-FA49-AB42-207D7916E1E7}" destId="{787D0869-B3E1-3545-A69F-D4BDC585A417}" srcOrd="0" destOrd="0" presId="urn:microsoft.com/office/officeart/2005/8/layout/cycle8"/>
    <dgm:cxn modelId="{8ABE62DC-19FF-3744-B837-6B0765D780D3}" type="presOf" srcId="{989F4AD2-9B07-4F4B-9066-556EC1C5798C}" destId="{56B22652-BF84-934F-BE3E-FC1EBD8D7129}" srcOrd="0" destOrd="0" presId="urn:microsoft.com/office/officeart/2005/8/layout/cycle8"/>
    <dgm:cxn modelId="{F4635293-FDDC-8F44-B924-D85FF7D29A98}" type="presOf" srcId="{A56A9162-A625-9D4B-BC5C-321F30265E20}" destId="{D4BA861E-BDEB-5046-A4D9-77EC1F583C6E}" srcOrd="1" destOrd="0" presId="urn:microsoft.com/office/officeart/2005/8/layout/cycle8"/>
    <dgm:cxn modelId="{5943F20E-860A-AB4B-9D51-DDF199A8F418}" type="presOf" srcId="{2E66B9FF-6D9B-C040-9228-628349FBDF86}" destId="{B49E04BD-E7E9-9A47-9E19-C630BF04DCBF}" srcOrd="0" destOrd="0" presId="urn:microsoft.com/office/officeart/2005/8/layout/cycle8"/>
    <dgm:cxn modelId="{71CA804B-6BC5-3047-8BDC-079CEE6BA75C}" type="presOf" srcId="{576D984D-FC10-DD4B-BA63-183D7E1896AE}" destId="{003F795E-7752-B745-836A-0050E6C66EDB}" srcOrd="0" destOrd="0" presId="urn:microsoft.com/office/officeart/2005/8/layout/cycle8"/>
    <dgm:cxn modelId="{7F38E7B1-C1D4-D64C-AE01-BF91CBA73D87}" srcId="{989F4AD2-9B07-4F4B-9066-556EC1C5798C}" destId="{576D984D-FC10-DD4B-BA63-183D7E1896AE}" srcOrd="3" destOrd="0" parTransId="{B02FF01B-036B-054D-91A7-8D330BE18417}" sibTransId="{37054DE3-4318-5F44-B19E-8D3906DB490C}"/>
    <dgm:cxn modelId="{956ADA1A-9D84-3841-B808-2D4248A73122}" srcId="{989F4AD2-9B07-4F4B-9066-556EC1C5798C}" destId="{A56A9162-A625-9D4B-BC5C-321F30265E20}" srcOrd="1" destOrd="0" parTransId="{3A4479EB-363F-314C-87F2-616E581E8FFE}" sibTransId="{BF10948D-726B-CF40-BBB4-EEE77AA11620}"/>
    <dgm:cxn modelId="{D0C2DCA4-546D-374A-928D-EEB217F1DA17}" srcId="{989F4AD2-9B07-4F4B-9066-556EC1C5798C}" destId="{E3C03293-7C98-7D4D-B86D-23B68BDD6E0D}" srcOrd="5" destOrd="0" parTransId="{7E77D818-9DC5-CD49-B98D-4D70B8631750}" sibTransId="{21F3FE2A-FD11-4643-953A-8267983AC3E7}"/>
    <dgm:cxn modelId="{7D301890-FBC4-2C4A-B2B7-155571523DF2}" type="presOf" srcId="{2E66B9FF-6D9B-C040-9228-628349FBDF86}" destId="{F90ECF21-59B8-AC4C-BCAC-C2656DD93903}" srcOrd="1" destOrd="0" presId="urn:microsoft.com/office/officeart/2005/8/layout/cycle8"/>
    <dgm:cxn modelId="{DEC2CF3A-9810-094F-B0D3-67D8298E51DB}" srcId="{989F4AD2-9B07-4F4B-9066-556EC1C5798C}" destId="{2E66B9FF-6D9B-C040-9228-628349FBDF86}" srcOrd="4" destOrd="0" parTransId="{1DC2652F-F69E-064C-97B7-94BD3FE9915B}" sibTransId="{345C55B3-CE07-D74D-80CA-D55BEC8E3BDD}"/>
    <dgm:cxn modelId="{81AC6A40-4183-F045-ADE5-946AC324BE6B}" type="presOf" srcId="{ADD064E8-818F-7B45-81A1-1B41C8E8D5F7}" destId="{4ADF3FDE-DCCC-E345-AE4B-F53FF685B93E}" srcOrd="1" destOrd="0" presId="urn:microsoft.com/office/officeart/2005/8/layout/cycle8"/>
    <dgm:cxn modelId="{CEF25CB6-3644-4647-8818-0D2C00B07310}" type="presOf" srcId="{B8534762-EC3A-FA49-AB42-207D7916E1E7}" destId="{3AF28FFA-646A-DB44-A334-0C1F367A2757}" srcOrd="1" destOrd="0" presId="urn:microsoft.com/office/officeart/2005/8/layout/cycle8"/>
    <dgm:cxn modelId="{3D1DECCC-2757-BF46-88E6-119A96F9AAD7}" type="presOf" srcId="{E3C03293-7C98-7D4D-B86D-23B68BDD6E0D}" destId="{B5164F73-B5D9-AF45-907F-5C842DB2CD33}" srcOrd="0" destOrd="0" presId="urn:microsoft.com/office/officeart/2005/8/layout/cycle8"/>
    <dgm:cxn modelId="{538C5FBD-8D91-F443-944D-E9FC8262B5A2}" type="presOf" srcId="{A56A9162-A625-9D4B-BC5C-321F30265E20}" destId="{D4785A2B-391E-964C-B612-26EEC4F9F592}" srcOrd="0" destOrd="0" presId="urn:microsoft.com/office/officeart/2005/8/layout/cycle8"/>
    <dgm:cxn modelId="{776EDAD8-905F-5B4F-A556-666247BEF605}" type="presOf" srcId="{E3C03293-7C98-7D4D-B86D-23B68BDD6E0D}" destId="{3C1C97AB-B11D-224A-BCF5-FFB8F327E636}" srcOrd="1" destOrd="0" presId="urn:microsoft.com/office/officeart/2005/8/layout/cycle8"/>
    <dgm:cxn modelId="{4FA323EE-2360-B642-A9DD-9CD7BE76AB9C}" srcId="{989F4AD2-9B07-4F4B-9066-556EC1C5798C}" destId="{ADD064E8-818F-7B45-81A1-1B41C8E8D5F7}" srcOrd="0" destOrd="0" parTransId="{EDCEB4B2-6076-4E42-8FA3-F84D9C768EC3}" sibTransId="{C29D6084-9B43-6E44-AB1C-8CF8BE2D35CE}"/>
    <dgm:cxn modelId="{A5DAE9FA-C256-FB45-8EC4-C21C939BB8BB}" type="presParOf" srcId="{56B22652-BF84-934F-BE3E-FC1EBD8D7129}" destId="{45D7478E-C797-BD45-A0DE-859B66B30240}" srcOrd="0" destOrd="0" presId="urn:microsoft.com/office/officeart/2005/8/layout/cycle8"/>
    <dgm:cxn modelId="{89AC40DA-D6D8-C841-9DDE-2401BAD42E88}" type="presParOf" srcId="{56B22652-BF84-934F-BE3E-FC1EBD8D7129}" destId="{04CFBA95-C3A1-674F-A9A7-92F627173104}" srcOrd="1" destOrd="0" presId="urn:microsoft.com/office/officeart/2005/8/layout/cycle8"/>
    <dgm:cxn modelId="{7DD4A405-4375-7442-897E-CA88557ADB03}" type="presParOf" srcId="{56B22652-BF84-934F-BE3E-FC1EBD8D7129}" destId="{672AFAE7-C28D-5C43-8E56-24D00B4658F3}" srcOrd="2" destOrd="0" presId="urn:microsoft.com/office/officeart/2005/8/layout/cycle8"/>
    <dgm:cxn modelId="{63003352-E8A1-324C-9386-3F0C3916E423}" type="presParOf" srcId="{56B22652-BF84-934F-BE3E-FC1EBD8D7129}" destId="{4ADF3FDE-DCCC-E345-AE4B-F53FF685B93E}" srcOrd="3" destOrd="0" presId="urn:microsoft.com/office/officeart/2005/8/layout/cycle8"/>
    <dgm:cxn modelId="{36DCFE08-BBC7-5F4D-B7BC-CCE187E93232}" type="presParOf" srcId="{56B22652-BF84-934F-BE3E-FC1EBD8D7129}" destId="{D4785A2B-391E-964C-B612-26EEC4F9F592}" srcOrd="4" destOrd="0" presId="urn:microsoft.com/office/officeart/2005/8/layout/cycle8"/>
    <dgm:cxn modelId="{528D2605-B72E-D74E-9F9A-356EE94D03CE}" type="presParOf" srcId="{56B22652-BF84-934F-BE3E-FC1EBD8D7129}" destId="{E702D450-16E8-3443-8611-D45AE1B2D0ED}" srcOrd="5" destOrd="0" presId="urn:microsoft.com/office/officeart/2005/8/layout/cycle8"/>
    <dgm:cxn modelId="{51B709F5-BD01-3F40-B92E-750F66AC9459}" type="presParOf" srcId="{56B22652-BF84-934F-BE3E-FC1EBD8D7129}" destId="{2E3FF456-53E1-9045-8AC0-7A8EF5BEE00E}" srcOrd="6" destOrd="0" presId="urn:microsoft.com/office/officeart/2005/8/layout/cycle8"/>
    <dgm:cxn modelId="{E3369E51-6F4B-D84D-96D8-8E53ECD5FEF5}" type="presParOf" srcId="{56B22652-BF84-934F-BE3E-FC1EBD8D7129}" destId="{D4BA861E-BDEB-5046-A4D9-77EC1F583C6E}" srcOrd="7" destOrd="0" presId="urn:microsoft.com/office/officeart/2005/8/layout/cycle8"/>
    <dgm:cxn modelId="{58075C89-362D-164C-8711-6AEF3B9E85FA}" type="presParOf" srcId="{56B22652-BF84-934F-BE3E-FC1EBD8D7129}" destId="{787D0869-B3E1-3545-A69F-D4BDC585A417}" srcOrd="8" destOrd="0" presId="urn:microsoft.com/office/officeart/2005/8/layout/cycle8"/>
    <dgm:cxn modelId="{71E90F61-E5B0-D143-A487-4AED3A97EB84}" type="presParOf" srcId="{56B22652-BF84-934F-BE3E-FC1EBD8D7129}" destId="{77B966B0-8465-5041-978E-6786E8D3BC47}" srcOrd="9" destOrd="0" presId="urn:microsoft.com/office/officeart/2005/8/layout/cycle8"/>
    <dgm:cxn modelId="{C523778F-CEA8-9B45-938F-EA212594520F}" type="presParOf" srcId="{56B22652-BF84-934F-BE3E-FC1EBD8D7129}" destId="{B9EAEC1A-6D1C-E641-BB52-FAF3462C82B5}" srcOrd="10" destOrd="0" presId="urn:microsoft.com/office/officeart/2005/8/layout/cycle8"/>
    <dgm:cxn modelId="{DEAB3EC1-8BE4-5B4D-979A-BAE8999CA587}" type="presParOf" srcId="{56B22652-BF84-934F-BE3E-FC1EBD8D7129}" destId="{3AF28FFA-646A-DB44-A334-0C1F367A2757}" srcOrd="11" destOrd="0" presId="urn:microsoft.com/office/officeart/2005/8/layout/cycle8"/>
    <dgm:cxn modelId="{23471C49-87BA-074B-A30C-8913BC977525}" type="presParOf" srcId="{56B22652-BF84-934F-BE3E-FC1EBD8D7129}" destId="{003F795E-7752-B745-836A-0050E6C66EDB}" srcOrd="12" destOrd="0" presId="urn:microsoft.com/office/officeart/2005/8/layout/cycle8"/>
    <dgm:cxn modelId="{30ECC27C-4771-8C4B-A50E-D130EB62302F}" type="presParOf" srcId="{56B22652-BF84-934F-BE3E-FC1EBD8D7129}" destId="{1D879B8A-EA26-B54E-9B32-0459EDA0D996}" srcOrd="13" destOrd="0" presId="urn:microsoft.com/office/officeart/2005/8/layout/cycle8"/>
    <dgm:cxn modelId="{EB8BC595-8212-8B48-A582-AC5F8947A29D}" type="presParOf" srcId="{56B22652-BF84-934F-BE3E-FC1EBD8D7129}" destId="{87790641-EDEE-0846-AC73-9A4649887428}" srcOrd="14" destOrd="0" presId="urn:microsoft.com/office/officeart/2005/8/layout/cycle8"/>
    <dgm:cxn modelId="{2CA9162F-495E-9343-9276-EC51C6723EBB}" type="presParOf" srcId="{56B22652-BF84-934F-BE3E-FC1EBD8D7129}" destId="{0A73E1ED-0C9A-EF42-8BD9-5695BFE26EE6}" srcOrd="15" destOrd="0" presId="urn:microsoft.com/office/officeart/2005/8/layout/cycle8"/>
    <dgm:cxn modelId="{72C500C9-0C9B-F244-B0F5-3CA62FF1E60B}" type="presParOf" srcId="{56B22652-BF84-934F-BE3E-FC1EBD8D7129}" destId="{B49E04BD-E7E9-9A47-9E19-C630BF04DCBF}" srcOrd="16" destOrd="0" presId="urn:microsoft.com/office/officeart/2005/8/layout/cycle8"/>
    <dgm:cxn modelId="{603A7B9F-F8C4-4447-8E19-9AD2920C63B3}" type="presParOf" srcId="{56B22652-BF84-934F-BE3E-FC1EBD8D7129}" destId="{EF041C25-9313-2345-A180-1DDA04774DA6}" srcOrd="17" destOrd="0" presId="urn:microsoft.com/office/officeart/2005/8/layout/cycle8"/>
    <dgm:cxn modelId="{2C7DBDDE-5FD8-B549-B448-D497F51F685F}" type="presParOf" srcId="{56B22652-BF84-934F-BE3E-FC1EBD8D7129}" destId="{674CF70F-F100-144A-9CB1-8C19F871730F}" srcOrd="18" destOrd="0" presId="urn:microsoft.com/office/officeart/2005/8/layout/cycle8"/>
    <dgm:cxn modelId="{25052EC0-D0EB-9B40-ABF8-27BB19131E3D}" type="presParOf" srcId="{56B22652-BF84-934F-BE3E-FC1EBD8D7129}" destId="{F90ECF21-59B8-AC4C-BCAC-C2656DD93903}" srcOrd="19" destOrd="0" presId="urn:microsoft.com/office/officeart/2005/8/layout/cycle8"/>
    <dgm:cxn modelId="{91A7AEB8-8337-8849-846E-91D2FE5130C0}" type="presParOf" srcId="{56B22652-BF84-934F-BE3E-FC1EBD8D7129}" destId="{B5164F73-B5D9-AF45-907F-5C842DB2CD33}" srcOrd="20" destOrd="0" presId="urn:microsoft.com/office/officeart/2005/8/layout/cycle8"/>
    <dgm:cxn modelId="{C4CA4F16-F661-D84D-9005-543EA1B948A6}" type="presParOf" srcId="{56B22652-BF84-934F-BE3E-FC1EBD8D7129}" destId="{DF2179B3-B300-2048-BA42-A29BE6B9FF59}" srcOrd="21" destOrd="0" presId="urn:microsoft.com/office/officeart/2005/8/layout/cycle8"/>
    <dgm:cxn modelId="{F5F1D55E-86E4-C445-9A43-02F2B77A8742}" type="presParOf" srcId="{56B22652-BF84-934F-BE3E-FC1EBD8D7129}" destId="{AF4B82C2-F7F7-D749-9F13-114823850159}" srcOrd="22" destOrd="0" presId="urn:microsoft.com/office/officeart/2005/8/layout/cycle8"/>
    <dgm:cxn modelId="{D183D8A1-8602-F142-89F0-05C78A61644D}" type="presParOf" srcId="{56B22652-BF84-934F-BE3E-FC1EBD8D7129}" destId="{3C1C97AB-B11D-224A-BCF5-FFB8F327E636}" srcOrd="23" destOrd="0" presId="urn:microsoft.com/office/officeart/2005/8/layout/cycle8"/>
    <dgm:cxn modelId="{04B56C0F-9CE1-284D-8D62-52C474F1C5E9}" type="presParOf" srcId="{56B22652-BF84-934F-BE3E-FC1EBD8D7129}" destId="{97A3113C-4A76-1F48-B2AB-8E12708DEF81}" srcOrd="24" destOrd="0" presId="urn:microsoft.com/office/officeart/2005/8/layout/cycle8"/>
    <dgm:cxn modelId="{77E081E7-5548-5B43-B6AA-3E51ACFB830E}" type="presParOf" srcId="{56B22652-BF84-934F-BE3E-FC1EBD8D7129}" destId="{3F76037E-86D5-0A4E-B322-CB73CDBEA3B5}" srcOrd="25" destOrd="0" presId="urn:microsoft.com/office/officeart/2005/8/layout/cycle8"/>
    <dgm:cxn modelId="{7374BEC4-3458-7644-8C63-B17918F2330F}" type="presParOf" srcId="{56B22652-BF84-934F-BE3E-FC1EBD8D7129}" destId="{AF18CC33-5888-C649-BDF1-E13928EC7D33}" srcOrd="26" destOrd="0" presId="urn:microsoft.com/office/officeart/2005/8/layout/cycle8"/>
    <dgm:cxn modelId="{760817A8-339F-524A-82CE-812900C5D0C9}" type="presParOf" srcId="{56B22652-BF84-934F-BE3E-FC1EBD8D7129}" destId="{CC50A46C-CAD1-1240-9216-9B7843B3A106}" srcOrd="27" destOrd="0" presId="urn:microsoft.com/office/officeart/2005/8/layout/cycle8"/>
    <dgm:cxn modelId="{DFDE2835-775C-BF46-9A0B-FFBF2DF07239}" type="presParOf" srcId="{56B22652-BF84-934F-BE3E-FC1EBD8D7129}" destId="{A65FE5DE-8F4C-3944-B81E-70857227F2E4}" srcOrd="28" destOrd="0" presId="urn:microsoft.com/office/officeart/2005/8/layout/cycle8"/>
    <dgm:cxn modelId="{36006106-0543-9347-A595-016E830E8C61}" type="presParOf" srcId="{56B22652-BF84-934F-BE3E-FC1EBD8D7129}" destId="{FF7B64AB-9B48-1A49-8675-C1FEA60CD287}" srcOrd="2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98AE3A7-1164-D946-864C-A24F98855FFB}" type="doc">
      <dgm:prSet loTypeId="urn:microsoft.com/office/officeart/2005/8/layout/pyramid3" loCatId="" qsTypeId="urn:microsoft.com/office/officeart/2005/8/quickstyle/simple1" qsCatId="simple" csTypeId="urn:microsoft.com/office/officeart/2005/8/colors/accent1_2" csCatId="accent1" phldr="1"/>
      <dgm:spPr/>
    </dgm:pt>
    <dgm:pt modelId="{F51ECDAB-4F10-2D4B-BA4E-F727B7B66201}" type="pres">
      <dgm:prSet presAssocID="{198AE3A7-1164-D946-864C-A24F98855FFB}" presName="Name0" presStyleCnt="0">
        <dgm:presLayoutVars>
          <dgm:dir/>
          <dgm:animLvl val="lvl"/>
          <dgm:resizeHandles val="exact"/>
        </dgm:presLayoutVars>
      </dgm:prSet>
      <dgm:spPr/>
    </dgm:pt>
  </dgm:ptLst>
  <dgm:cxnLst>
    <dgm:cxn modelId="{3B169F70-A306-F34D-8032-AEC36E596A8E}" type="presOf" srcId="{198AE3A7-1164-D946-864C-A24F98855FFB}" destId="{F51ECDAB-4F10-2D4B-BA4E-F727B7B66201}" srcOrd="0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82516EA-54C1-43CE-8D21-8B7EA52A7A0C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8A1147C9-E503-4A2E-988D-707D9AEB4EBE}">
      <dgm:prSet phldrT="[Texte]" custT="1"/>
      <dgm:spPr/>
      <dgm:t>
        <a:bodyPr/>
        <a:lstStyle/>
        <a:p>
          <a:r>
            <a:rPr lang="ar-TN" sz="1600" b="1" dirty="0"/>
            <a:t>التشاركية </a:t>
          </a:r>
          <a:endParaRPr lang="fr-FR" sz="1600" b="1" dirty="0"/>
        </a:p>
      </dgm:t>
    </dgm:pt>
    <dgm:pt modelId="{CEFAACD7-13EE-4D98-AA27-BD1DD2CF72FB}" type="parTrans" cxnId="{EA1C50BD-3DF3-41B2-8BB1-31CFE7971CBF}">
      <dgm:prSet/>
      <dgm:spPr/>
      <dgm:t>
        <a:bodyPr/>
        <a:lstStyle/>
        <a:p>
          <a:endParaRPr lang="fr-FR" sz="1400"/>
        </a:p>
      </dgm:t>
    </dgm:pt>
    <dgm:pt modelId="{124DE615-F216-4222-AC73-C9CDDD6A0107}" type="sibTrans" cxnId="{EA1C50BD-3DF3-41B2-8BB1-31CFE7971CBF}">
      <dgm:prSet/>
      <dgm:spPr/>
      <dgm:t>
        <a:bodyPr/>
        <a:lstStyle/>
        <a:p>
          <a:endParaRPr lang="fr-FR" sz="1400"/>
        </a:p>
      </dgm:t>
    </dgm:pt>
    <dgm:pt modelId="{F890B71E-8410-4CE2-8E5C-7B6792E0C325}">
      <dgm:prSet phldrT="[Texte]" custT="1"/>
      <dgm:spPr/>
      <dgm:t>
        <a:bodyPr/>
        <a:lstStyle/>
        <a:p>
          <a:pPr rtl="1"/>
          <a:r>
            <a:rPr lang="ar-TN" sz="1600" b="1" dirty="0">
              <a:solidFill>
                <a:schemeClr val="tx1">
                  <a:lumMod val="75000"/>
                  <a:lumOff val="25000"/>
                </a:schemeClr>
              </a:solidFill>
            </a:rPr>
            <a:t>ضمان اكبر قدر ممكن من مشاركة جميع الطراف الفاعلة ضمانا للتطبيق الأمثل للإجراءات المعتمدة</a:t>
          </a:r>
          <a:endParaRPr lang="fr-FR" sz="1600" b="1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A48A34B7-5E75-4EF7-B5FA-A8B4C0B1AF67}" type="parTrans" cxnId="{2FDE7EDB-74E9-4216-BBF1-EAFE358318DD}">
      <dgm:prSet/>
      <dgm:spPr/>
      <dgm:t>
        <a:bodyPr/>
        <a:lstStyle/>
        <a:p>
          <a:endParaRPr lang="fr-FR" sz="1400"/>
        </a:p>
      </dgm:t>
    </dgm:pt>
    <dgm:pt modelId="{82E31703-ADA5-463E-87B3-50ECE17533F3}" type="sibTrans" cxnId="{2FDE7EDB-74E9-4216-BBF1-EAFE358318DD}">
      <dgm:prSet/>
      <dgm:spPr/>
      <dgm:t>
        <a:bodyPr/>
        <a:lstStyle/>
        <a:p>
          <a:endParaRPr lang="fr-FR" sz="1400"/>
        </a:p>
      </dgm:t>
    </dgm:pt>
    <dgm:pt modelId="{7995C59D-6117-4BFF-B642-A3C604C64510}">
      <dgm:prSet phldrT="[Texte]" custT="1"/>
      <dgm:spPr/>
      <dgm:t>
        <a:bodyPr/>
        <a:lstStyle/>
        <a:p>
          <a:r>
            <a:rPr lang="ar-TN" sz="1600" b="1" dirty="0"/>
            <a:t>الشفافية</a:t>
          </a:r>
          <a:endParaRPr lang="fr-FR" sz="1600" b="1" dirty="0"/>
        </a:p>
      </dgm:t>
    </dgm:pt>
    <dgm:pt modelId="{7A6B0D96-8113-4287-8CC1-EE642EF6D2EF}" type="parTrans" cxnId="{EBB38814-4F76-4B98-BAF6-020AD0AD74C3}">
      <dgm:prSet/>
      <dgm:spPr/>
      <dgm:t>
        <a:bodyPr/>
        <a:lstStyle/>
        <a:p>
          <a:endParaRPr lang="fr-FR" sz="1400"/>
        </a:p>
      </dgm:t>
    </dgm:pt>
    <dgm:pt modelId="{04490C2B-328F-4860-BEB3-71ABAF7AC770}" type="sibTrans" cxnId="{EBB38814-4F76-4B98-BAF6-020AD0AD74C3}">
      <dgm:prSet/>
      <dgm:spPr/>
      <dgm:t>
        <a:bodyPr/>
        <a:lstStyle/>
        <a:p>
          <a:endParaRPr lang="fr-FR" sz="1400"/>
        </a:p>
      </dgm:t>
    </dgm:pt>
    <dgm:pt modelId="{AE923FBA-B2B2-4109-8C15-915C84B38D1C}">
      <dgm:prSet phldrT="[Texte]" custT="1"/>
      <dgm:spPr/>
      <dgm:t>
        <a:bodyPr/>
        <a:lstStyle/>
        <a:p>
          <a:pPr rtl="1">
            <a:buFont typeface="Arial" panose="020B0604020202020204" pitchFamily="34" charset="0"/>
            <a:buChar char="•"/>
          </a:pPr>
          <a:r>
            <a:rPr lang="ar-TN" sz="1600" b="1" dirty="0">
              <a:solidFill>
                <a:schemeClr val="tx1">
                  <a:lumMod val="75000"/>
                  <a:lumOff val="25000"/>
                </a:schemeClr>
              </a:solidFill>
            </a:rPr>
            <a:t>توفير المعلومة و تبادلها بشكل سريع و مرن بين مختلف المتدخلين  </a:t>
          </a:r>
          <a:endParaRPr lang="fr-FR" sz="1600" b="1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CC419C46-DEFC-4038-AD7E-13968F25F524}" type="parTrans" cxnId="{7FCDB76F-8CB7-47FA-874D-9134E9D09E2E}">
      <dgm:prSet/>
      <dgm:spPr/>
      <dgm:t>
        <a:bodyPr/>
        <a:lstStyle/>
        <a:p>
          <a:endParaRPr lang="fr-FR" sz="1400"/>
        </a:p>
      </dgm:t>
    </dgm:pt>
    <dgm:pt modelId="{7A8CEBF6-6CDA-4C36-9072-7D12FB18A71F}" type="sibTrans" cxnId="{7FCDB76F-8CB7-47FA-874D-9134E9D09E2E}">
      <dgm:prSet/>
      <dgm:spPr/>
      <dgm:t>
        <a:bodyPr/>
        <a:lstStyle/>
        <a:p>
          <a:endParaRPr lang="fr-FR" sz="1400"/>
        </a:p>
      </dgm:t>
    </dgm:pt>
    <dgm:pt modelId="{D273CAA4-5A72-442C-82DC-C66A5103767C}">
      <dgm:prSet phldrT="[Texte]" custT="1"/>
      <dgm:spPr/>
      <dgm:t>
        <a:bodyPr/>
        <a:lstStyle/>
        <a:p>
          <a:r>
            <a:rPr lang="ar-TN" sz="1600" b="1" dirty="0"/>
            <a:t>المسؤولية</a:t>
          </a:r>
          <a:endParaRPr lang="fr-FR" sz="1600" b="1" dirty="0"/>
        </a:p>
      </dgm:t>
    </dgm:pt>
    <dgm:pt modelId="{91DB8E21-F301-480B-BFFC-43B6D9FC54B8}" type="parTrans" cxnId="{50DF907D-BBAF-4713-8676-5F40B5D6EC66}">
      <dgm:prSet/>
      <dgm:spPr/>
      <dgm:t>
        <a:bodyPr/>
        <a:lstStyle/>
        <a:p>
          <a:endParaRPr lang="fr-FR" sz="1400"/>
        </a:p>
      </dgm:t>
    </dgm:pt>
    <dgm:pt modelId="{8498261D-FFF2-4815-802F-EAB2FD7806EE}" type="sibTrans" cxnId="{50DF907D-BBAF-4713-8676-5F40B5D6EC66}">
      <dgm:prSet/>
      <dgm:spPr/>
      <dgm:t>
        <a:bodyPr/>
        <a:lstStyle/>
        <a:p>
          <a:endParaRPr lang="fr-FR" sz="1400"/>
        </a:p>
      </dgm:t>
    </dgm:pt>
    <dgm:pt modelId="{33B56A60-1529-4BCE-8227-C1CE19914833}">
      <dgm:prSet phldrT="[Texte]" custT="1"/>
      <dgm:spPr/>
      <dgm:t>
        <a:bodyPr/>
        <a:lstStyle/>
        <a:p>
          <a:pPr rtl="1"/>
          <a:r>
            <a:rPr lang="ar-TN" sz="1600" b="1" dirty="0">
              <a:solidFill>
                <a:schemeClr val="tx1">
                  <a:lumMod val="75000"/>
                  <a:lumOff val="25000"/>
                </a:schemeClr>
              </a:solidFill>
            </a:rPr>
            <a:t>ضمان اكبر قدر ممكن من التحديد القيق و التوزيع المتوازن للمسؤوليات </a:t>
          </a:r>
          <a:endParaRPr lang="fr-FR" sz="1600" b="1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DE23ABC1-8420-4C86-968D-641B86855366}" type="parTrans" cxnId="{627F71A3-B248-49C2-B9A9-BA50858E43F9}">
      <dgm:prSet/>
      <dgm:spPr/>
      <dgm:t>
        <a:bodyPr/>
        <a:lstStyle/>
        <a:p>
          <a:endParaRPr lang="fr-FR" sz="1400"/>
        </a:p>
      </dgm:t>
    </dgm:pt>
    <dgm:pt modelId="{D18361E3-DC56-4B71-A430-B571D6B2ACC4}" type="sibTrans" cxnId="{627F71A3-B248-49C2-B9A9-BA50858E43F9}">
      <dgm:prSet/>
      <dgm:spPr/>
      <dgm:t>
        <a:bodyPr/>
        <a:lstStyle/>
        <a:p>
          <a:endParaRPr lang="fr-FR" sz="1400"/>
        </a:p>
      </dgm:t>
    </dgm:pt>
    <dgm:pt modelId="{EE8BBB63-E1C0-4917-BDA1-432F84B156F7}">
      <dgm:prSet phldrT="[Texte]" custT="1"/>
      <dgm:spPr/>
      <dgm:t>
        <a:bodyPr/>
        <a:lstStyle/>
        <a:p>
          <a:r>
            <a:rPr lang="ar-TN" sz="1600" b="1" dirty="0"/>
            <a:t>النجاعة </a:t>
          </a:r>
          <a:endParaRPr lang="fr-FR" sz="1600" b="1" dirty="0"/>
        </a:p>
      </dgm:t>
    </dgm:pt>
    <dgm:pt modelId="{7559430F-0639-4F3C-AB5F-50E21DA41B12}" type="parTrans" cxnId="{FF77A3BC-AB7F-4C4B-A3E8-76C206D59823}">
      <dgm:prSet/>
      <dgm:spPr/>
      <dgm:t>
        <a:bodyPr/>
        <a:lstStyle/>
        <a:p>
          <a:endParaRPr lang="fr-FR" sz="1400"/>
        </a:p>
      </dgm:t>
    </dgm:pt>
    <dgm:pt modelId="{56D57402-3C91-4BA1-AA60-BD1F677F1530}" type="sibTrans" cxnId="{FF77A3BC-AB7F-4C4B-A3E8-76C206D59823}">
      <dgm:prSet/>
      <dgm:spPr/>
      <dgm:t>
        <a:bodyPr/>
        <a:lstStyle/>
        <a:p>
          <a:endParaRPr lang="fr-FR" sz="1400"/>
        </a:p>
      </dgm:t>
    </dgm:pt>
    <dgm:pt modelId="{ED526266-84ED-4DAB-8F54-B78C53A7E6BE}">
      <dgm:prSet phldrT="[Texte]" custT="1"/>
      <dgm:spPr/>
      <dgm:t>
        <a:bodyPr/>
        <a:lstStyle/>
        <a:p>
          <a:pPr rtl="1"/>
          <a:r>
            <a:rPr lang="ar-TN" sz="1600" b="1" dirty="0">
              <a:solidFill>
                <a:schemeClr val="tx1">
                  <a:lumMod val="75000"/>
                  <a:lumOff val="25000"/>
                </a:schemeClr>
              </a:solidFill>
            </a:rPr>
            <a:t>تكييف و تطوع الإجراءات المعتمدة حسب تطور الأوضاع و حسب الإمكانيات المتاحة لتطبيقها </a:t>
          </a:r>
          <a:endParaRPr lang="fr-FR" sz="1600" b="1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25C3BABE-3768-4ACC-8D3A-47566DBB2D9C}" type="parTrans" cxnId="{FECB22AC-E463-44FD-98D9-E6E61C870DB6}">
      <dgm:prSet/>
      <dgm:spPr/>
      <dgm:t>
        <a:bodyPr/>
        <a:lstStyle/>
        <a:p>
          <a:endParaRPr lang="fr-FR" sz="1400"/>
        </a:p>
      </dgm:t>
    </dgm:pt>
    <dgm:pt modelId="{BA787814-83CF-4819-A972-CA31846738E9}" type="sibTrans" cxnId="{FECB22AC-E463-44FD-98D9-E6E61C870DB6}">
      <dgm:prSet/>
      <dgm:spPr/>
      <dgm:t>
        <a:bodyPr/>
        <a:lstStyle/>
        <a:p>
          <a:endParaRPr lang="fr-FR" sz="1400"/>
        </a:p>
      </dgm:t>
    </dgm:pt>
    <dgm:pt modelId="{92CACC31-EFD9-4E5F-9B20-90C308C5D4A3}" type="pres">
      <dgm:prSet presAssocID="{682516EA-54C1-43CE-8D21-8B7EA52A7A0C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7FFC319C-D406-4AD0-824A-23A319478214}" type="pres">
      <dgm:prSet presAssocID="{682516EA-54C1-43CE-8D21-8B7EA52A7A0C}" presName="children" presStyleCnt="0"/>
      <dgm:spPr/>
    </dgm:pt>
    <dgm:pt modelId="{6F5A6840-A642-4A3B-A99F-3A54BF2F56A4}" type="pres">
      <dgm:prSet presAssocID="{682516EA-54C1-43CE-8D21-8B7EA52A7A0C}" presName="child1group" presStyleCnt="0"/>
      <dgm:spPr/>
    </dgm:pt>
    <dgm:pt modelId="{F1450422-E9E7-4DC2-8771-86DDB52D8A5F}" type="pres">
      <dgm:prSet presAssocID="{682516EA-54C1-43CE-8D21-8B7EA52A7A0C}" presName="child1" presStyleLbl="bgAcc1" presStyleIdx="0" presStyleCnt="4" custScaleX="173159" custLinFactNeighborX="-28907"/>
      <dgm:spPr/>
      <dgm:t>
        <a:bodyPr/>
        <a:lstStyle/>
        <a:p>
          <a:endParaRPr lang="fr-FR"/>
        </a:p>
      </dgm:t>
    </dgm:pt>
    <dgm:pt modelId="{6DAC4AEC-2845-446F-ACA0-00370304188A}" type="pres">
      <dgm:prSet presAssocID="{682516EA-54C1-43CE-8D21-8B7EA52A7A0C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048618C-8953-4AF7-AB70-A88E4591A77D}" type="pres">
      <dgm:prSet presAssocID="{682516EA-54C1-43CE-8D21-8B7EA52A7A0C}" presName="child2group" presStyleCnt="0"/>
      <dgm:spPr/>
    </dgm:pt>
    <dgm:pt modelId="{29E2ABBC-5E67-4ECB-8E4B-E962BB0430D5}" type="pres">
      <dgm:prSet presAssocID="{682516EA-54C1-43CE-8D21-8B7EA52A7A0C}" presName="child2" presStyleLbl="bgAcc1" presStyleIdx="1" presStyleCnt="4" custScaleX="177954" custLinFactNeighborX="34025"/>
      <dgm:spPr/>
      <dgm:t>
        <a:bodyPr/>
        <a:lstStyle/>
        <a:p>
          <a:endParaRPr lang="fr-FR"/>
        </a:p>
      </dgm:t>
    </dgm:pt>
    <dgm:pt modelId="{4E07493E-9578-4A37-8354-A6A1ED7F1F49}" type="pres">
      <dgm:prSet presAssocID="{682516EA-54C1-43CE-8D21-8B7EA52A7A0C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F73F755-EE97-48AC-BB7A-177A08CCAF91}" type="pres">
      <dgm:prSet presAssocID="{682516EA-54C1-43CE-8D21-8B7EA52A7A0C}" presName="child3group" presStyleCnt="0"/>
      <dgm:spPr/>
    </dgm:pt>
    <dgm:pt modelId="{8E7867BC-8352-48F0-92D3-F35006ED118F}" type="pres">
      <dgm:prSet presAssocID="{682516EA-54C1-43CE-8D21-8B7EA52A7A0C}" presName="child3" presStyleLbl="bgAcc1" presStyleIdx="2" presStyleCnt="4" custScaleX="152669" custLinFactNeighborX="47305" custLinFactNeighborY="-2967"/>
      <dgm:spPr/>
      <dgm:t>
        <a:bodyPr/>
        <a:lstStyle/>
        <a:p>
          <a:endParaRPr lang="fr-FR"/>
        </a:p>
      </dgm:t>
    </dgm:pt>
    <dgm:pt modelId="{94330DDD-C7E1-417A-BD35-7B78871E937D}" type="pres">
      <dgm:prSet presAssocID="{682516EA-54C1-43CE-8D21-8B7EA52A7A0C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E82564C-3320-4528-94A2-3B971424B8F8}" type="pres">
      <dgm:prSet presAssocID="{682516EA-54C1-43CE-8D21-8B7EA52A7A0C}" presName="child4group" presStyleCnt="0"/>
      <dgm:spPr/>
    </dgm:pt>
    <dgm:pt modelId="{188E5019-8735-40A3-90D1-73C1CF4DF5B5}" type="pres">
      <dgm:prSet presAssocID="{682516EA-54C1-43CE-8D21-8B7EA52A7A0C}" presName="child4" presStyleLbl="bgAcc1" presStyleIdx="3" presStyleCnt="4" custScaleX="165284" custLinFactNeighborX="-28786" custLinFactNeighborY="-2967"/>
      <dgm:spPr/>
      <dgm:t>
        <a:bodyPr/>
        <a:lstStyle/>
        <a:p>
          <a:endParaRPr lang="fr-FR"/>
        </a:p>
      </dgm:t>
    </dgm:pt>
    <dgm:pt modelId="{7C7D0720-4A88-4731-94E7-239A90ACB79B}" type="pres">
      <dgm:prSet presAssocID="{682516EA-54C1-43CE-8D21-8B7EA52A7A0C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EF10872-A29E-41C4-B1BC-379548C44D30}" type="pres">
      <dgm:prSet presAssocID="{682516EA-54C1-43CE-8D21-8B7EA52A7A0C}" presName="childPlaceholder" presStyleCnt="0"/>
      <dgm:spPr/>
    </dgm:pt>
    <dgm:pt modelId="{F876049E-885E-4298-9A38-6A2D5281F156}" type="pres">
      <dgm:prSet presAssocID="{682516EA-54C1-43CE-8D21-8B7EA52A7A0C}" presName="circle" presStyleCnt="0"/>
      <dgm:spPr/>
    </dgm:pt>
    <dgm:pt modelId="{4CF46ED1-A068-422A-973B-9532B48C5B53}" type="pres">
      <dgm:prSet presAssocID="{682516EA-54C1-43CE-8D21-8B7EA52A7A0C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9ACA32F-8747-4084-97AF-F1AB8FF3E8D1}" type="pres">
      <dgm:prSet presAssocID="{682516EA-54C1-43CE-8D21-8B7EA52A7A0C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CFFB9ED-5A10-44D1-8F81-0709605D4B9B}" type="pres">
      <dgm:prSet presAssocID="{682516EA-54C1-43CE-8D21-8B7EA52A7A0C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A77271A-3CAF-4D40-81FA-E622CAC872C7}" type="pres">
      <dgm:prSet presAssocID="{682516EA-54C1-43CE-8D21-8B7EA52A7A0C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88ED2C1-6DDE-4173-A659-1F417C74505C}" type="pres">
      <dgm:prSet presAssocID="{682516EA-54C1-43CE-8D21-8B7EA52A7A0C}" presName="quadrantPlaceholder" presStyleCnt="0"/>
      <dgm:spPr/>
    </dgm:pt>
    <dgm:pt modelId="{BADA5546-A3C9-4796-AFA4-42CD468DA140}" type="pres">
      <dgm:prSet presAssocID="{682516EA-54C1-43CE-8D21-8B7EA52A7A0C}" presName="center1" presStyleLbl="fgShp" presStyleIdx="0" presStyleCnt="2"/>
      <dgm:spPr/>
    </dgm:pt>
    <dgm:pt modelId="{97DF9485-8514-42E1-8AAC-683C3C21C1DC}" type="pres">
      <dgm:prSet presAssocID="{682516EA-54C1-43CE-8D21-8B7EA52A7A0C}" presName="center2" presStyleLbl="fgShp" presStyleIdx="1" presStyleCnt="2"/>
      <dgm:spPr/>
    </dgm:pt>
  </dgm:ptLst>
  <dgm:cxnLst>
    <dgm:cxn modelId="{207DCACB-C02D-4F37-9D7A-1AD6EFFFA33E}" type="presOf" srcId="{F890B71E-8410-4CE2-8E5C-7B6792E0C325}" destId="{F1450422-E9E7-4DC2-8771-86DDB52D8A5F}" srcOrd="0" destOrd="0" presId="urn:microsoft.com/office/officeart/2005/8/layout/cycle4"/>
    <dgm:cxn modelId="{FECB22AC-E463-44FD-98D9-E6E61C870DB6}" srcId="{EE8BBB63-E1C0-4917-BDA1-432F84B156F7}" destId="{ED526266-84ED-4DAB-8F54-B78C53A7E6BE}" srcOrd="0" destOrd="0" parTransId="{25C3BABE-3768-4ACC-8D3A-47566DBB2D9C}" sibTransId="{BA787814-83CF-4819-A972-CA31846738E9}"/>
    <dgm:cxn modelId="{31CEA16C-3993-4A55-B099-9B76355D6BC0}" type="presOf" srcId="{ED526266-84ED-4DAB-8F54-B78C53A7E6BE}" destId="{188E5019-8735-40A3-90D1-73C1CF4DF5B5}" srcOrd="0" destOrd="0" presId="urn:microsoft.com/office/officeart/2005/8/layout/cycle4"/>
    <dgm:cxn modelId="{50DF907D-BBAF-4713-8676-5F40B5D6EC66}" srcId="{682516EA-54C1-43CE-8D21-8B7EA52A7A0C}" destId="{D273CAA4-5A72-442C-82DC-C66A5103767C}" srcOrd="2" destOrd="0" parTransId="{91DB8E21-F301-480B-BFFC-43B6D9FC54B8}" sibTransId="{8498261D-FFF2-4815-802F-EAB2FD7806EE}"/>
    <dgm:cxn modelId="{EBB38814-4F76-4B98-BAF6-020AD0AD74C3}" srcId="{682516EA-54C1-43CE-8D21-8B7EA52A7A0C}" destId="{7995C59D-6117-4BFF-B642-A3C604C64510}" srcOrd="1" destOrd="0" parTransId="{7A6B0D96-8113-4287-8CC1-EE642EF6D2EF}" sibTransId="{04490C2B-328F-4860-BEB3-71ABAF7AC770}"/>
    <dgm:cxn modelId="{B3F20128-8AEA-43A8-8A52-C6DA3BA3B76C}" type="presOf" srcId="{8A1147C9-E503-4A2E-988D-707D9AEB4EBE}" destId="{4CF46ED1-A068-422A-973B-9532B48C5B53}" srcOrd="0" destOrd="0" presId="urn:microsoft.com/office/officeart/2005/8/layout/cycle4"/>
    <dgm:cxn modelId="{79CA33B5-CFB2-4562-97B0-21297E9198AE}" type="presOf" srcId="{7995C59D-6117-4BFF-B642-A3C604C64510}" destId="{29ACA32F-8747-4084-97AF-F1AB8FF3E8D1}" srcOrd="0" destOrd="0" presId="urn:microsoft.com/office/officeart/2005/8/layout/cycle4"/>
    <dgm:cxn modelId="{627F71A3-B248-49C2-B9A9-BA50858E43F9}" srcId="{D273CAA4-5A72-442C-82DC-C66A5103767C}" destId="{33B56A60-1529-4BCE-8227-C1CE19914833}" srcOrd="0" destOrd="0" parTransId="{DE23ABC1-8420-4C86-968D-641B86855366}" sibTransId="{D18361E3-DC56-4B71-A430-B571D6B2ACC4}"/>
    <dgm:cxn modelId="{2FDE7EDB-74E9-4216-BBF1-EAFE358318DD}" srcId="{8A1147C9-E503-4A2E-988D-707D9AEB4EBE}" destId="{F890B71E-8410-4CE2-8E5C-7B6792E0C325}" srcOrd="0" destOrd="0" parTransId="{A48A34B7-5E75-4EF7-B5FA-A8B4C0B1AF67}" sibTransId="{82E31703-ADA5-463E-87B3-50ECE17533F3}"/>
    <dgm:cxn modelId="{D381A7BA-A565-4449-8937-D122C5CF75CA}" type="presOf" srcId="{ED526266-84ED-4DAB-8F54-B78C53A7E6BE}" destId="{7C7D0720-4A88-4731-94E7-239A90ACB79B}" srcOrd="1" destOrd="0" presId="urn:microsoft.com/office/officeart/2005/8/layout/cycle4"/>
    <dgm:cxn modelId="{037C34CC-2ECE-4A60-8DD2-2E26B733B15D}" type="presOf" srcId="{EE8BBB63-E1C0-4917-BDA1-432F84B156F7}" destId="{8A77271A-3CAF-4D40-81FA-E622CAC872C7}" srcOrd="0" destOrd="0" presId="urn:microsoft.com/office/officeart/2005/8/layout/cycle4"/>
    <dgm:cxn modelId="{77E08BB3-60A0-4489-9263-CFF2C2EB1568}" type="presOf" srcId="{F890B71E-8410-4CE2-8E5C-7B6792E0C325}" destId="{6DAC4AEC-2845-446F-ACA0-00370304188A}" srcOrd="1" destOrd="0" presId="urn:microsoft.com/office/officeart/2005/8/layout/cycle4"/>
    <dgm:cxn modelId="{FF77A3BC-AB7F-4C4B-A3E8-76C206D59823}" srcId="{682516EA-54C1-43CE-8D21-8B7EA52A7A0C}" destId="{EE8BBB63-E1C0-4917-BDA1-432F84B156F7}" srcOrd="3" destOrd="0" parTransId="{7559430F-0639-4F3C-AB5F-50E21DA41B12}" sibTransId="{56D57402-3C91-4BA1-AA60-BD1F677F1530}"/>
    <dgm:cxn modelId="{BEF17376-9BD1-4999-8008-C286A1EAE109}" type="presOf" srcId="{D273CAA4-5A72-442C-82DC-C66A5103767C}" destId="{ECFFB9ED-5A10-44D1-8F81-0709605D4B9B}" srcOrd="0" destOrd="0" presId="urn:microsoft.com/office/officeart/2005/8/layout/cycle4"/>
    <dgm:cxn modelId="{7FCDB76F-8CB7-47FA-874D-9134E9D09E2E}" srcId="{7995C59D-6117-4BFF-B642-A3C604C64510}" destId="{AE923FBA-B2B2-4109-8C15-915C84B38D1C}" srcOrd="0" destOrd="0" parTransId="{CC419C46-DEFC-4038-AD7E-13968F25F524}" sibTransId="{7A8CEBF6-6CDA-4C36-9072-7D12FB18A71F}"/>
    <dgm:cxn modelId="{BBE24A4E-3407-4742-97AB-A841C4DD9FF2}" type="presOf" srcId="{682516EA-54C1-43CE-8D21-8B7EA52A7A0C}" destId="{92CACC31-EFD9-4E5F-9B20-90C308C5D4A3}" srcOrd="0" destOrd="0" presId="urn:microsoft.com/office/officeart/2005/8/layout/cycle4"/>
    <dgm:cxn modelId="{6BA75D0E-9A22-4E23-99B4-9A634CC2AF3C}" type="presOf" srcId="{AE923FBA-B2B2-4109-8C15-915C84B38D1C}" destId="{29E2ABBC-5E67-4ECB-8E4B-E962BB0430D5}" srcOrd="0" destOrd="0" presId="urn:microsoft.com/office/officeart/2005/8/layout/cycle4"/>
    <dgm:cxn modelId="{E020DA18-5904-4307-98B1-260D26136BBE}" type="presOf" srcId="{33B56A60-1529-4BCE-8227-C1CE19914833}" destId="{8E7867BC-8352-48F0-92D3-F35006ED118F}" srcOrd="0" destOrd="0" presId="urn:microsoft.com/office/officeart/2005/8/layout/cycle4"/>
    <dgm:cxn modelId="{EA1C50BD-3DF3-41B2-8BB1-31CFE7971CBF}" srcId="{682516EA-54C1-43CE-8D21-8B7EA52A7A0C}" destId="{8A1147C9-E503-4A2E-988D-707D9AEB4EBE}" srcOrd="0" destOrd="0" parTransId="{CEFAACD7-13EE-4D98-AA27-BD1DD2CF72FB}" sibTransId="{124DE615-F216-4222-AC73-C9CDDD6A0107}"/>
    <dgm:cxn modelId="{4A938731-C89F-416C-82C3-A76AEA5A9D49}" type="presOf" srcId="{33B56A60-1529-4BCE-8227-C1CE19914833}" destId="{94330DDD-C7E1-417A-BD35-7B78871E937D}" srcOrd="1" destOrd="0" presId="urn:microsoft.com/office/officeart/2005/8/layout/cycle4"/>
    <dgm:cxn modelId="{4D77DFC4-88D8-4032-8659-99FD2F5ADCB2}" type="presOf" srcId="{AE923FBA-B2B2-4109-8C15-915C84B38D1C}" destId="{4E07493E-9578-4A37-8354-A6A1ED7F1F49}" srcOrd="1" destOrd="0" presId="urn:microsoft.com/office/officeart/2005/8/layout/cycle4"/>
    <dgm:cxn modelId="{4A0AEB02-3274-4B16-A818-8605FCB54248}" type="presParOf" srcId="{92CACC31-EFD9-4E5F-9B20-90C308C5D4A3}" destId="{7FFC319C-D406-4AD0-824A-23A319478214}" srcOrd="0" destOrd="0" presId="urn:microsoft.com/office/officeart/2005/8/layout/cycle4"/>
    <dgm:cxn modelId="{1E39233B-D4FD-4145-AACD-6814991A36E0}" type="presParOf" srcId="{7FFC319C-D406-4AD0-824A-23A319478214}" destId="{6F5A6840-A642-4A3B-A99F-3A54BF2F56A4}" srcOrd="0" destOrd="0" presId="urn:microsoft.com/office/officeart/2005/8/layout/cycle4"/>
    <dgm:cxn modelId="{CBBF29A3-D7EB-4C2A-9918-1B346966841F}" type="presParOf" srcId="{6F5A6840-A642-4A3B-A99F-3A54BF2F56A4}" destId="{F1450422-E9E7-4DC2-8771-86DDB52D8A5F}" srcOrd="0" destOrd="0" presId="urn:microsoft.com/office/officeart/2005/8/layout/cycle4"/>
    <dgm:cxn modelId="{482562AE-6ECE-41AF-A167-6B9049880324}" type="presParOf" srcId="{6F5A6840-A642-4A3B-A99F-3A54BF2F56A4}" destId="{6DAC4AEC-2845-446F-ACA0-00370304188A}" srcOrd="1" destOrd="0" presId="urn:microsoft.com/office/officeart/2005/8/layout/cycle4"/>
    <dgm:cxn modelId="{CF8FB00F-D584-4AB7-9762-9272C3BE904B}" type="presParOf" srcId="{7FFC319C-D406-4AD0-824A-23A319478214}" destId="{7048618C-8953-4AF7-AB70-A88E4591A77D}" srcOrd="1" destOrd="0" presId="urn:microsoft.com/office/officeart/2005/8/layout/cycle4"/>
    <dgm:cxn modelId="{B4713342-FEB0-4007-8CD8-7F98CA59EB49}" type="presParOf" srcId="{7048618C-8953-4AF7-AB70-A88E4591A77D}" destId="{29E2ABBC-5E67-4ECB-8E4B-E962BB0430D5}" srcOrd="0" destOrd="0" presId="urn:microsoft.com/office/officeart/2005/8/layout/cycle4"/>
    <dgm:cxn modelId="{C67A0795-BCC9-4394-BB44-04DDBBEF61D1}" type="presParOf" srcId="{7048618C-8953-4AF7-AB70-A88E4591A77D}" destId="{4E07493E-9578-4A37-8354-A6A1ED7F1F49}" srcOrd="1" destOrd="0" presId="urn:microsoft.com/office/officeart/2005/8/layout/cycle4"/>
    <dgm:cxn modelId="{5BC2E3F0-188C-4C85-A66B-DEB4BE3524F2}" type="presParOf" srcId="{7FFC319C-D406-4AD0-824A-23A319478214}" destId="{3F73F755-EE97-48AC-BB7A-177A08CCAF91}" srcOrd="2" destOrd="0" presId="urn:microsoft.com/office/officeart/2005/8/layout/cycle4"/>
    <dgm:cxn modelId="{9C3342FB-7196-43B8-BDAF-60EFC92614E1}" type="presParOf" srcId="{3F73F755-EE97-48AC-BB7A-177A08CCAF91}" destId="{8E7867BC-8352-48F0-92D3-F35006ED118F}" srcOrd="0" destOrd="0" presId="urn:microsoft.com/office/officeart/2005/8/layout/cycle4"/>
    <dgm:cxn modelId="{23D4489E-6419-43D4-94D0-DD08F3B3D772}" type="presParOf" srcId="{3F73F755-EE97-48AC-BB7A-177A08CCAF91}" destId="{94330DDD-C7E1-417A-BD35-7B78871E937D}" srcOrd="1" destOrd="0" presId="urn:microsoft.com/office/officeart/2005/8/layout/cycle4"/>
    <dgm:cxn modelId="{3F4D1475-743A-41CC-A241-F64332114FB5}" type="presParOf" srcId="{7FFC319C-D406-4AD0-824A-23A319478214}" destId="{9E82564C-3320-4528-94A2-3B971424B8F8}" srcOrd="3" destOrd="0" presId="urn:microsoft.com/office/officeart/2005/8/layout/cycle4"/>
    <dgm:cxn modelId="{97E636D6-14A8-470B-92C3-55421D97C390}" type="presParOf" srcId="{9E82564C-3320-4528-94A2-3B971424B8F8}" destId="{188E5019-8735-40A3-90D1-73C1CF4DF5B5}" srcOrd="0" destOrd="0" presId="urn:microsoft.com/office/officeart/2005/8/layout/cycle4"/>
    <dgm:cxn modelId="{A08473F5-5665-490D-865D-99324BD6F7FD}" type="presParOf" srcId="{9E82564C-3320-4528-94A2-3B971424B8F8}" destId="{7C7D0720-4A88-4731-94E7-239A90ACB79B}" srcOrd="1" destOrd="0" presId="urn:microsoft.com/office/officeart/2005/8/layout/cycle4"/>
    <dgm:cxn modelId="{BA576AB1-6CCA-482F-AEE7-2ABDF97A4FA1}" type="presParOf" srcId="{7FFC319C-D406-4AD0-824A-23A319478214}" destId="{2EF10872-A29E-41C4-B1BC-379548C44D30}" srcOrd="4" destOrd="0" presId="urn:microsoft.com/office/officeart/2005/8/layout/cycle4"/>
    <dgm:cxn modelId="{E082B7C9-E83B-4C57-AAC7-19161EF3FE77}" type="presParOf" srcId="{92CACC31-EFD9-4E5F-9B20-90C308C5D4A3}" destId="{F876049E-885E-4298-9A38-6A2D5281F156}" srcOrd="1" destOrd="0" presId="urn:microsoft.com/office/officeart/2005/8/layout/cycle4"/>
    <dgm:cxn modelId="{C58D2E57-0F8F-4DC2-8D78-DE9288BC8A41}" type="presParOf" srcId="{F876049E-885E-4298-9A38-6A2D5281F156}" destId="{4CF46ED1-A068-422A-973B-9532B48C5B53}" srcOrd="0" destOrd="0" presId="urn:microsoft.com/office/officeart/2005/8/layout/cycle4"/>
    <dgm:cxn modelId="{D454615B-BFB4-426A-8305-E7BEB251617A}" type="presParOf" srcId="{F876049E-885E-4298-9A38-6A2D5281F156}" destId="{29ACA32F-8747-4084-97AF-F1AB8FF3E8D1}" srcOrd="1" destOrd="0" presId="urn:microsoft.com/office/officeart/2005/8/layout/cycle4"/>
    <dgm:cxn modelId="{0766645B-C795-43C1-A590-FDD789AAFB37}" type="presParOf" srcId="{F876049E-885E-4298-9A38-6A2D5281F156}" destId="{ECFFB9ED-5A10-44D1-8F81-0709605D4B9B}" srcOrd="2" destOrd="0" presId="urn:microsoft.com/office/officeart/2005/8/layout/cycle4"/>
    <dgm:cxn modelId="{F04BF66A-530C-4957-BB7A-0B626B6732C7}" type="presParOf" srcId="{F876049E-885E-4298-9A38-6A2D5281F156}" destId="{8A77271A-3CAF-4D40-81FA-E622CAC872C7}" srcOrd="3" destOrd="0" presId="urn:microsoft.com/office/officeart/2005/8/layout/cycle4"/>
    <dgm:cxn modelId="{2DA1E81A-67F2-40CD-8EF5-F6F13BD25F4D}" type="presParOf" srcId="{F876049E-885E-4298-9A38-6A2D5281F156}" destId="{788ED2C1-6DDE-4173-A659-1F417C74505C}" srcOrd="4" destOrd="0" presId="urn:microsoft.com/office/officeart/2005/8/layout/cycle4"/>
    <dgm:cxn modelId="{C1275F86-E9AD-4E76-B55A-D8770E0EB0E4}" type="presParOf" srcId="{92CACC31-EFD9-4E5F-9B20-90C308C5D4A3}" destId="{BADA5546-A3C9-4796-AFA4-42CD468DA140}" srcOrd="2" destOrd="0" presId="urn:microsoft.com/office/officeart/2005/8/layout/cycle4"/>
    <dgm:cxn modelId="{A24E7CFF-A0E3-4583-AB1E-60B49F35630A}" type="presParOf" srcId="{92CACC31-EFD9-4E5F-9B20-90C308C5D4A3}" destId="{97DF9485-8514-42E1-8AAC-683C3C21C1DC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64FF818-C755-4312-8919-87A412CD41A1}" type="doc">
      <dgm:prSet loTypeId="urn:microsoft.com/office/officeart/2005/8/layout/arrow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8EA6FCE4-6D18-4E3D-9E95-E42CA0CF14A1}">
      <dgm:prSet phldrT="[Texte]"/>
      <dgm:spPr/>
      <dgm:t>
        <a:bodyPr/>
        <a:lstStyle/>
        <a:p>
          <a:r>
            <a:rPr lang="ar-TN" b="1" dirty="0">
              <a:solidFill>
                <a:schemeClr val="tx1">
                  <a:lumMod val="75000"/>
                  <a:lumOff val="25000"/>
                </a:schemeClr>
              </a:solidFill>
            </a:rPr>
            <a:t>الوزراء و اللجان الوطنية و الولاة و رؤساء البلديات </a:t>
          </a:r>
        </a:p>
        <a:p>
          <a:r>
            <a:rPr lang="ar-TN" b="1" dirty="0">
              <a:solidFill>
                <a:schemeClr val="tx1">
                  <a:lumMod val="75000"/>
                  <a:lumOff val="25000"/>
                </a:schemeClr>
              </a:solidFill>
            </a:rPr>
            <a:t>العوان المحلفون </a:t>
          </a:r>
        </a:p>
        <a:p>
          <a:r>
            <a:rPr lang="ar-TN" b="1" dirty="0">
              <a:solidFill>
                <a:schemeClr val="tx1">
                  <a:lumMod val="75000"/>
                  <a:lumOff val="25000"/>
                </a:schemeClr>
              </a:solidFill>
            </a:rPr>
            <a:t>مأمورو الضابطة لعدلية </a:t>
          </a:r>
        </a:p>
        <a:p>
          <a:r>
            <a:rPr lang="ar-TN" b="1" dirty="0">
              <a:solidFill>
                <a:schemeClr val="tx1">
                  <a:lumMod val="75000"/>
                  <a:lumOff val="25000"/>
                </a:schemeClr>
              </a:solidFill>
            </a:rPr>
            <a:t>أعوان </a:t>
          </a:r>
          <a:r>
            <a:rPr lang="ar-TN" b="1" dirty="0" err="1">
              <a:solidFill>
                <a:schemeClr val="tx1">
                  <a:lumMod val="75000"/>
                  <a:lumOff val="25000"/>
                </a:schemeClr>
              </a:solidFill>
            </a:rPr>
            <a:t>التفقديات</a:t>
          </a:r>
          <a:r>
            <a:rPr lang="ar-TN" b="1" dirty="0">
              <a:solidFill>
                <a:schemeClr val="tx1">
                  <a:lumMod val="75000"/>
                  <a:lumOff val="25000"/>
                </a:schemeClr>
              </a:solidFill>
            </a:rPr>
            <a:t> القطاعية و </a:t>
          </a:r>
          <a:r>
            <a:rPr lang="ar-TN" b="1" dirty="0" err="1">
              <a:solidFill>
                <a:schemeClr val="tx1">
                  <a:lumMod val="75000"/>
                  <a:lumOff val="25000"/>
                </a:schemeClr>
              </a:solidFill>
            </a:rPr>
            <a:t>تفقديات</a:t>
          </a:r>
          <a:r>
            <a:rPr lang="ar-TN" b="1" dirty="0">
              <a:solidFill>
                <a:schemeClr val="tx1">
                  <a:lumMod val="75000"/>
                  <a:lumOff val="25000"/>
                </a:schemeClr>
              </a:solidFill>
            </a:rPr>
            <a:t> الشغل </a:t>
          </a:r>
        </a:p>
        <a:p>
          <a:r>
            <a:rPr lang="ar-TN" b="1" dirty="0">
              <a:solidFill>
                <a:schemeClr val="tx1">
                  <a:lumMod val="75000"/>
                  <a:lumOff val="25000"/>
                </a:schemeClr>
              </a:solidFill>
            </a:rPr>
            <a:t>هيئات الرقابة العامة و هياكل الرقابة الداخلية و التدقيق بالمؤسسات و المنشآت الخاصة </a:t>
          </a:r>
          <a:endParaRPr lang="fr-FR" b="1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6441ABF8-62A7-47F2-A91D-2E7E069804DF}" type="parTrans" cxnId="{2DC8AA1A-99C6-432C-AC2B-F3E96B7EAA77}">
      <dgm:prSet/>
      <dgm:spPr/>
      <dgm:t>
        <a:bodyPr/>
        <a:lstStyle/>
        <a:p>
          <a:endParaRPr lang="fr-FR"/>
        </a:p>
      </dgm:t>
    </dgm:pt>
    <dgm:pt modelId="{90824FDA-55EF-4AA8-98BF-4A305DA438CA}" type="sibTrans" cxnId="{2DC8AA1A-99C6-432C-AC2B-F3E96B7EAA77}">
      <dgm:prSet/>
      <dgm:spPr/>
      <dgm:t>
        <a:bodyPr/>
        <a:lstStyle/>
        <a:p>
          <a:endParaRPr lang="fr-FR"/>
        </a:p>
      </dgm:t>
    </dgm:pt>
    <dgm:pt modelId="{8F91CAEC-01DD-416D-8360-FF9D264C7E70}">
      <dgm:prSet phldrT="[Texte]"/>
      <dgm:spPr/>
      <dgm:t>
        <a:bodyPr/>
        <a:lstStyle/>
        <a:p>
          <a:r>
            <a:rPr lang="ar-TN" b="1" dirty="0">
              <a:solidFill>
                <a:schemeClr val="tx1">
                  <a:lumMod val="75000"/>
                  <a:lumOff val="25000"/>
                </a:schemeClr>
              </a:solidFill>
            </a:rPr>
            <a:t>احداث او تفعيل اليات تشاركية على المستوى المحلى تضم خاصة : </a:t>
          </a:r>
        </a:p>
        <a:p>
          <a:r>
            <a:rPr lang="ar-TN" b="1" dirty="0">
              <a:solidFill>
                <a:schemeClr val="tx1">
                  <a:lumMod val="75000"/>
                  <a:lumOff val="25000"/>
                </a:schemeClr>
              </a:solidFill>
            </a:rPr>
            <a:t>المعتمدين و العمد </a:t>
          </a:r>
        </a:p>
        <a:p>
          <a:r>
            <a:rPr lang="ar-TN" b="1" dirty="0">
              <a:solidFill>
                <a:schemeClr val="tx1">
                  <a:lumMod val="75000"/>
                  <a:lumOff val="25000"/>
                </a:schemeClr>
              </a:solidFill>
            </a:rPr>
            <a:t>لرؤساء البلديات </a:t>
          </a:r>
        </a:p>
        <a:p>
          <a:r>
            <a:rPr lang="ar-TN" b="1" dirty="0">
              <a:solidFill>
                <a:schemeClr val="tx1">
                  <a:lumMod val="75000"/>
                  <a:lumOff val="25000"/>
                </a:schemeClr>
              </a:solidFill>
            </a:rPr>
            <a:t>منظمات المجتمع المدني </a:t>
          </a:r>
        </a:p>
        <a:p>
          <a:r>
            <a:rPr lang="ar-TN" b="1" dirty="0">
              <a:solidFill>
                <a:schemeClr val="tx1">
                  <a:lumMod val="75000"/>
                  <a:lumOff val="25000"/>
                </a:schemeClr>
              </a:solidFill>
            </a:rPr>
            <a:t>السلط الأمنية </a:t>
          </a:r>
        </a:p>
        <a:p>
          <a:r>
            <a:rPr lang="ar-TN" b="1" dirty="0">
              <a:solidFill>
                <a:schemeClr val="tx1">
                  <a:lumMod val="75000"/>
                  <a:lumOff val="25000"/>
                </a:schemeClr>
              </a:solidFill>
            </a:rPr>
            <a:t>الإدارات الجهوية و المؤسسات و المنشآت العمومية المعنية  </a:t>
          </a:r>
          <a:endParaRPr lang="fr-FR" b="1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D309BF99-E8BB-4CFA-9A2D-C16682C1DD47}" type="parTrans" cxnId="{E49AE414-1212-45DA-B436-76C6FD31FB1F}">
      <dgm:prSet/>
      <dgm:spPr/>
      <dgm:t>
        <a:bodyPr/>
        <a:lstStyle/>
        <a:p>
          <a:endParaRPr lang="fr-FR"/>
        </a:p>
      </dgm:t>
    </dgm:pt>
    <dgm:pt modelId="{A1A572BE-5C63-4B63-9F96-B98D6A80C6A4}" type="sibTrans" cxnId="{E49AE414-1212-45DA-B436-76C6FD31FB1F}">
      <dgm:prSet/>
      <dgm:spPr/>
      <dgm:t>
        <a:bodyPr/>
        <a:lstStyle/>
        <a:p>
          <a:endParaRPr lang="fr-FR"/>
        </a:p>
      </dgm:t>
    </dgm:pt>
    <dgm:pt modelId="{250BEE87-039B-452B-83F2-85A86362442B}" type="pres">
      <dgm:prSet presAssocID="{264FF818-C755-4312-8919-87A412CD41A1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2F61D1FC-5BF7-4ECA-8516-6F5E529CF76F}" type="pres">
      <dgm:prSet presAssocID="{264FF818-C755-4312-8919-87A412CD41A1}" presName="divider" presStyleLbl="fgShp" presStyleIdx="0" presStyleCnt="1" custLinFactNeighborX="486" custLinFactNeighborY="-7065"/>
      <dgm:spPr/>
    </dgm:pt>
    <dgm:pt modelId="{A1C852E7-5129-4691-BD16-9A196902454B}" type="pres">
      <dgm:prSet presAssocID="{8EA6FCE4-6D18-4E3D-9E95-E42CA0CF14A1}" presName="downArrow" presStyleLbl="node1" presStyleIdx="0" presStyleCnt="2"/>
      <dgm:spPr/>
    </dgm:pt>
    <dgm:pt modelId="{6ECEDB0D-C175-4B0D-A961-F41B5E21B266}" type="pres">
      <dgm:prSet presAssocID="{8EA6FCE4-6D18-4E3D-9E95-E42CA0CF14A1}" presName="downArrowText" presStyleLbl="revTx" presStyleIdx="0" presStyleCnt="2" custScaleX="198392" custLinFactNeighborX="-649" custLinFactNeighborY="577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269A7F7-0D8D-43F0-826F-16A9B823781A}" type="pres">
      <dgm:prSet presAssocID="{8F91CAEC-01DD-416D-8360-FF9D264C7E70}" presName="upArrow" presStyleLbl="node1" presStyleIdx="1" presStyleCnt="2"/>
      <dgm:spPr/>
    </dgm:pt>
    <dgm:pt modelId="{A69A4E35-5E72-4F40-BD4F-C154E02F9BD3}" type="pres">
      <dgm:prSet presAssocID="{8F91CAEC-01DD-416D-8360-FF9D264C7E70}" presName="upArrowText" presStyleLbl="revTx" presStyleIdx="1" presStyleCnt="2" custScaleX="148240" custLinFactNeighborY="-804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89F7B09C-3233-4341-8E1A-6CA3E0680AEC}" type="presOf" srcId="{264FF818-C755-4312-8919-87A412CD41A1}" destId="{250BEE87-039B-452B-83F2-85A86362442B}" srcOrd="0" destOrd="0" presId="urn:microsoft.com/office/officeart/2005/8/layout/arrow3"/>
    <dgm:cxn modelId="{7F15BBD3-1CC6-4683-B253-B597B5B1975F}" type="presOf" srcId="{8F91CAEC-01DD-416D-8360-FF9D264C7E70}" destId="{A69A4E35-5E72-4F40-BD4F-C154E02F9BD3}" srcOrd="0" destOrd="0" presId="urn:microsoft.com/office/officeart/2005/8/layout/arrow3"/>
    <dgm:cxn modelId="{2DC8AA1A-99C6-432C-AC2B-F3E96B7EAA77}" srcId="{264FF818-C755-4312-8919-87A412CD41A1}" destId="{8EA6FCE4-6D18-4E3D-9E95-E42CA0CF14A1}" srcOrd="0" destOrd="0" parTransId="{6441ABF8-62A7-47F2-A91D-2E7E069804DF}" sibTransId="{90824FDA-55EF-4AA8-98BF-4A305DA438CA}"/>
    <dgm:cxn modelId="{E49AE414-1212-45DA-B436-76C6FD31FB1F}" srcId="{264FF818-C755-4312-8919-87A412CD41A1}" destId="{8F91CAEC-01DD-416D-8360-FF9D264C7E70}" srcOrd="1" destOrd="0" parTransId="{D309BF99-E8BB-4CFA-9A2D-C16682C1DD47}" sibTransId="{A1A572BE-5C63-4B63-9F96-B98D6A80C6A4}"/>
    <dgm:cxn modelId="{D99DACC1-6873-40BF-9C26-919D2A4C6985}" type="presOf" srcId="{8EA6FCE4-6D18-4E3D-9E95-E42CA0CF14A1}" destId="{6ECEDB0D-C175-4B0D-A961-F41B5E21B266}" srcOrd="0" destOrd="0" presId="urn:microsoft.com/office/officeart/2005/8/layout/arrow3"/>
    <dgm:cxn modelId="{CC2453A1-8A2E-48A3-A615-BF0809D84516}" type="presParOf" srcId="{250BEE87-039B-452B-83F2-85A86362442B}" destId="{2F61D1FC-5BF7-4ECA-8516-6F5E529CF76F}" srcOrd="0" destOrd="0" presId="urn:microsoft.com/office/officeart/2005/8/layout/arrow3"/>
    <dgm:cxn modelId="{3CE6CC8B-3898-46D5-B34F-6940A6E27AB6}" type="presParOf" srcId="{250BEE87-039B-452B-83F2-85A86362442B}" destId="{A1C852E7-5129-4691-BD16-9A196902454B}" srcOrd="1" destOrd="0" presId="urn:microsoft.com/office/officeart/2005/8/layout/arrow3"/>
    <dgm:cxn modelId="{FADFAEF4-9E4B-4E10-A41C-6BAF1C4DD829}" type="presParOf" srcId="{250BEE87-039B-452B-83F2-85A86362442B}" destId="{6ECEDB0D-C175-4B0D-A961-F41B5E21B266}" srcOrd="2" destOrd="0" presId="urn:microsoft.com/office/officeart/2005/8/layout/arrow3"/>
    <dgm:cxn modelId="{6D6D0080-07EE-422C-AE1D-14C38719A7D0}" type="presParOf" srcId="{250BEE87-039B-452B-83F2-85A86362442B}" destId="{F269A7F7-0D8D-43F0-826F-16A9B823781A}" srcOrd="3" destOrd="0" presId="urn:microsoft.com/office/officeart/2005/8/layout/arrow3"/>
    <dgm:cxn modelId="{52ED48B4-1D67-464F-A5C5-AFBB2EFDDDC7}" type="presParOf" srcId="{250BEE87-039B-452B-83F2-85A86362442B}" destId="{A69A4E35-5E72-4F40-BD4F-C154E02F9BD3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149275-A8E7-4B3F-B65D-22FC6C8FE432}" type="datetimeFigureOut">
              <a:rPr lang="fr-FR" smtClean="0"/>
              <a:t>29/04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3830BE-1ABB-4FC0-B4ED-070541785A3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60857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75230475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p:notes"/>
          <p:cNvSpPr txBox="1">
            <a:spLocks noGrp="1"/>
          </p:cNvSpPr>
          <p:nvPr>
            <p:ph type="body" idx="1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89552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650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</a:t>
            </a:r>
            <a:r>
              <a:rPr lang="x-none" dirty="0"/>
              <a:t>e pas dire: TOUT </a:t>
            </a:r>
          </a:p>
          <a:p>
            <a:r>
              <a:rPr lang="en-GB" dirty="0"/>
              <a:t>L</a:t>
            </a:r>
            <a:r>
              <a:rPr lang="x-none" dirty="0"/>
              <a:t>iste negative </a:t>
            </a:r>
          </a:p>
          <a:p>
            <a:r>
              <a:rPr lang="en-GB" dirty="0"/>
              <a:t>M</a:t>
            </a:r>
            <a:r>
              <a:rPr lang="x-none" dirty="0"/>
              <a:t>erme regle pour tous a 50% </a:t>
            </a:r>
          </a:p>
          <a:p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5901842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650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</a:t>
            </a:r>
            <a:r>
              <a:rPr lang="x-none" dirty="0"/>
              <a:t>e pas dire: TOUT </a:t>
            </a:r>
          </a:p>
          <a:p>
            <a:r>
              <a:rPr lang="en-GB" dirty="0"/>
              <a:t>L</a:t>
            </a:r>
            <a:r>
              <a:rPr lang="x-none" dirty="0"/>
              <a:t>iste negative </a:t>
            </a:r>
          </a:p>
          <a:p>
            <a:r>
              <a:rPr lang="en-GB" dirty="0"/>
              <a:t>M</a:t>
            </a:r>
            <a:r>
              <a:rPr lang="x-none" dirty="0"/>
              <a:t>erme regle pour tous a 50% </a:t>
            </a:r>
          </a:p>
          <a:p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5450059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650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</a:t>
            </a:r>
            <a:r>
              <a:rPr lang="x-none" dirty="0"/>
              <a:t>e pas dire: TOUT </a:t>
            </a:r>
          </a:p>
          <a:p>
            <a:r>
              <a:rPr lang="en-GB" dirty="0"/>
              <a:t>L</a:t>
            </a:r>
            <a:r>
              <a:rPr lang="x-none" dirty="0"/>
              <a:t>iste negative </a:t>
            </a:r>
          </a:p>
          <a:p>
            <a:r>
              <a:rPr lang="en-GB" dirty="0"/>
              <a:t>M</a:t>
            </a:r>
            <a:r>
              <a:rPr lang="x-none" dirty="0"/>
              <a:t>erme regle pour tous a 50% </a:t>
            </a:r>
          </a:p>
          <a:p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9822486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:notes"/>
          <p:cNvSpPr txBox="1">
            <a:spLocks noGrp="1"/>
          </p:cNvSpPr>
          <p:nvPr>
            <p:ph type="body" idx="1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7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099209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:notes"/>
          <p:cNvSpPr txBox="1">
            <a:spLocks noGrp="1"/>
          </p:cNvSpPr>
          <p:nvPr>
            <p:ph type="body" idx="1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7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583380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650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</a:t>
            </a:r>
            <a:r>
              <a:rPr lang="x-none" dirty="0"/>
              <a:t>tres principe: responsabilite </a:t>
            </a:r>
          </a:p>
        </p:txBody>
      </p:sp>
    </p:spTree>
    <p:extLst>
      <p:ext uri="{BB962C8B-B14F-4D97-AF65-F5344CB8AC3E}">
        <p14:creationId xmlns:p14="http://schemas.microsoft.com/office/powerpoint/2010/main" val="2443180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650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6267692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650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x-none" dirty="0"/>
              <a:t>CHANGER LE Calendrier tous les 10 jours </a:t>
            </a:r>
          </a:p>
        </p:txBody>
      </p:sp>
    </p:spTree>
    <p:extLst>
      <p:ext uri="{BB962C8B-B14F-4D97-AF65-F5344CB8AC3E}">
        <p14:creationId xmlns:p14="http://schemas.microsoft.com/office/powerpoint/2010/main" val="13440347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650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x-none" dirty="0"/>
              <a:t>CHANGER LE Calendrier tous les 10 jours </a:t>
            </a:r>
          </a:p>
        </p:txBody>
      </p:sp>
    </p:spTree>
    <p:extLst>
      <p:ext uri="{BB962C8B-B14F-4D97-AF65-F5344CB8AC3E}">
        <p14:creationId xmlns:p14="http://schemas.microsoft.com/office/powerpoint/2010/main" val="3841717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650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</a:t>
            </a:r>
            <a:r>
              <a:rPr lang="x-none" dirty="0"/>
              <a:t>e pas dire: TOUT </a:t>
            </a:r>
          </a:p>
          <a:p>
            <a:r>
              <a:rPr lang="en-GB" dirty="0"/>
              <a:t>L</a:t>
            </a:r>
            <a:r>
              <a:rPr lang="x-none" dirty="0"/>
              <a:t>iste negative </a:t>
            </a:r>
          </a:p>
          <a:p>
            <a:r>
              <a:rPr lang="en-GB" dirty="0"/>
              <a:t>M</a:t>
            </a:r>
            <a:r>
              <a:rPr lang="x-none" dirty="0"/>
              <a:t>erme regle pour tous a 50% </a:t>
            </a:r>
          </a:p>
          <a:p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4736431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650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</a:t>
            </a:r>
            <a:r>
              <a:rPr lang="x-none" dirty="0"/>
              <a:t>e pas dire: TOUT </a:t>
            </a:r>
          </a:p>
          <a:p>
            <a:r>
              <a:rPr lang="en-GB" dirty="0"/>
              <a:t>L</a:t>
            </a:r>
            <a:r>
              <a:rPr lang="x-none" dirty="0"/>
              <a:t>iste negative </a:t>
            </a:r>
          </a:p>
          <a:p>
            <a:r>
              <a:rPr lang="en-GB" dirty="0"/>
              <a:t>M</a:t>
            </a:r>
            <a:r>
              <a:rPr lang="x-none" dirty="0"/>
              <a:t>erme regle pour tous a 50% </a:t>
            </a:r>
          </a:p>
          <a:p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4430693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650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</a:t>
            </a:r>
            <a:r>
              <a:rPr lang="x-none" dirty="0"/>
              <a:t>e pas dire: TOUT </a:t>
            </a:r>
          </a:p>
          <a:p>
            <a:r>
              <a:rPr lang="en-GB" dirty="0"/>
              <a:t>L</a:t>
            </a:r>
            <a:r>
              <a:rPr lang="x-none" dirty="0"/>
              <a:t>iste negative </a:t>
            </a:r>
          </a:p>
          <a:p>
            <a:r>
              <a:rPr lang="en-GB" dirty="0"/>
              <a:t>M</a:t>
            </a:r>
            <a:r>
              <a:rPr lang="x-none" dirty="0"/>
              <a:t>erme regle pour tous a 50% </a:t>
            </a:r>
          </a:p>
          <a:p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579204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NULL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bg>
      <p:bgPr>
        <a:solidFill>
          <a:schemeClr val="dk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>
            <a:off x="-125" y="0"/>
            <a:ext cx="9144250" cy="4398100"/>
          </a:xfrm>
          <a:custGeom>
            <a:avLst/>
            <a:gdLst/>
            <a:ahLst/>
            <a:cxnLst/>
            <a:rect l="l" t="t" r="r" b="b"/>
            <a:pathLst>
              <a:path w="365770" h="175924" extrusionOk="0">
                <a:moveTo>
                  <a:pt x="0" y="0"/>
                </a:moveTo>
                <a:lnTo>
                  <a:pt x="365770" y="0"/>
                </a:lnTo>
                <a:lnTo>
                  <a:pt x="365760" y="70914"/>
                </a:lnTo>
                <a:lnTo>
                  <a:pt x="0" y="175924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</p:sp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311700" y="539725"/>
            <a:ext cx="8520600" cy="1282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ubTitle" idx="1"/>
          </p:nvPr>
        </p:nvSpPr>
        <p:spPr>
          <a:xfrm>
            <a:off x="311700" y="1878560"/>
            <a:ext cx="4242600" cy="738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°›</a:t>
            </a:fld>
            <a:endParaRPr/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xmlns="" id="{ADFAAA9A-6D31-AE4F-912B-0485D1655A2A}"/>
              </a:ext>
            </a:extLst>
          </p:cNvPr>
          <p:cNvSpPr/>
          <p:nvPr userDrawn="1"/>
        </p:nvSpPr>
        <p:spPr>
          <a:xfrm rot="2311732">
            <a:off x="532035" y="595873"/>
            <a:ext cx="12251640" cy="880794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5"/>
          <p:cNvSpPr txBox="1">
            <a:spLocks noGrp="1"/>
          </p:cNvSpPr>
          <p:nvPr>
            <p:ph type="title"/>
          </p:nvPr>
        </p:nvSpPr>
        <p:spPr>
          <a:xfrm>
            <a:off x="311725" y="500925"/>
            <a:ext cx="8520600" cy="623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3200" b="1">
                <a:solidFill>
                  <a:srgbClr val="C00000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9" name="Google Shape;29;p5"/>
          <p:cNvSpPr txBox="1">
            <a:spLocks noGrp="1"/>
          </p:cNvSpPr>
          <p:nvPr>
            <p:ph type="body" idx="1"/>
          </p:nvPr>
        </p:nvSpPr>
        <p:spPr>
          <a:xfrm>
            <a:off x="311700" y="1505700"/>
            <a:ext cx="3999900" cy="3076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30" name="Google Shape;30;p5"/>
          <p:cNvSpPr txBox="1">
            <a:spLocks noGrp="1"/>
          </p:cNvSpPr>
          <p:nvPr>
            <p:ph type="body" idx="2"/>
          </p:nvPr>
        </p:nvSpPr>
        <p:spPr>
          <a:xfrm>
            <a:off x="4832400" y="1505700"/>
            <a:ext cx="3999900" cy="3076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bg>
      <p:bgPr>
        <a:solidFill>
          <a:schemeClr val="dk1"/>
        </a:solidFill>
        <a:effectLst/>
      </p:bgPr>
    </p:bg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31EA4F2E-D023-854F-A525-81129E8083D0}"/>
              </a:ext>
            </a:extLst>
          </p:cNvPr>
          <p:cNvSpPr/>
          <p:nvPr userDrawn="1"/>
        </p:nvSpPr>
        <p:spPr>
          <a:xfrm>
            <a:off x="-101600" y="0"/>
            <a:ext cx="9439564" cy="52554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55" name="Google Shape;55;p11"/>
          <p:cNvSpPr txBox="1">
            <a:spLocks noGrp="1"/>
          </p:cNvSpPr>
          <p:nvPr>
            <p:ph type="title" hasCustomPrompt="1"/>
          </p:nvPr>
        </p:nvSpPr>
        <p:spPr>
          <a:xfrm>
            <a:off x="311750" y="831175"/>
            <a:ext cx="5334900" cy="12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00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00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00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00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00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00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00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00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0000">
                <a:solidFill>
                  <a:schemeClr val="lt1"/>
                </a:solidFill>
              </a:defRPr>
            </a:lvl9pPr>
          </a:lstStyle>
          <a:p>
            <a:r>
              <a:rPr dirty="0"/>
              <a:t>xx%</a:t>
            </a:r>
          </a:p>
        </p:txBody>
      </p:sp>
      <p:sp>
        <p:nvSpPr>
          <p:cNvPr id="56" name="Google Shape;56;p11"/>
          <p:cNvSpPr txBox="1">
            <a:spLocks noGrp="1"/>
          </p:cNvSpPr>
          <p:nvPr>
            <p:ph type="body" idx="1"/>
          </p:nvPr>
        </p:nvSpPr>
        <p:spPr>
          <a:xfrm>
            <a:off x="311700" y="2121425"/>
            <a:ext cx="5334900" cy="94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300"/>
              <a:buChar char="●"/>
              <a:defRPr>
                <a:solidFill>
                  <a:schemeClr val="accent2"/>
                </a:solidFill>
              </a:defRPr>
            </a:lvl1pPr>
            <a:lvl2pPr marL="914400" lvl="1" indent="-298450"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○"/>
              <a:defRPr>
                <a:solidFill>
                  <a:schemeClr val="accent2"/>
                </a:solidFill>
              </a:defRPr>
            </a:lvl2pPr>
            <a:lvl3pPr marL="1371600" lvl="2" indent="-298450"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■"/>
              <a:defRPr>
                <a:solidFill>
                  <a:schemeClr val="accent2"/>
                </a:solidFill>
              </a:defRPr>
            </a:lvl3pPr>
            <a:lvl4pPr marL="1828800" lvl="3" indent="-298450"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●"/>
              <a:defRPr>
                <a:solidFill>
                  <a:schemeClr val="accent2"/>
                </a:solidFill>
              </a:defRPr>
            </a:lvl4pPr>
            <a:lvl5pPr marL="2286000" lvl="4" indent="-298450"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○"/>
              <a:defRPr>
                <a:solidFill>
                  <a:schemeClr val="accent2"/>
                </a:solidFill>
              </a:defRPr>
            </a:lvl5pPr>
            <a:lvl6pPr marL="2743200" lvl="5" indent="-298450"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■"/>
              <a:defRPr>
                <a:solidFill>
                  <a:schemeClr val="accent2"/>
                </a:solidFill>
              </a:defRPr>
            </a:lvl6pPr>
            <a:lvl7pPr marL="3200400" lvl="6" indent="-298450"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●"/>
              <a:defRPr>
                <a:solidFill>
                  <a:schemeClr val="accent2"/>
                </a:solidFill>
              </a:defRPr>
            </a:lvl7pPr>
            <a:lvl8pPr marL="3657600" lvl="7" indent="-298450"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○"/>
              <a:defRPr>
                <a:solidFill>
                  <a:schemeClr val="accent2"/>
                </a:solidFill>
              </a:defRPr>
            </a:lvl8pPr>
            <a:lvl9pPr marL="4114800" lvl="8" indent="-298450">
              <a:spcBef>
                <a:spcPts val="1600"/>
              </a:spcBef>
              <a:spcAft>
                <a:spcPts val="1600"/>
              </a:spcAft>
              <a:buClr>
                <a:schemeClr val="accent2"/>
              </a:buClr>
              <a:buSzPts val="1100"/>
              <a:buChar char="■"/>
              <a:defRPr>
                <a:solidFill>
                  <a:schemeClr val="accent2"/>
                </a:solidFill>
              </a:defRPr>
            </a:lvl9pPr>
          </a:lstStyle>
          <a:p>
            <a:endParaRPr dirty="0"/>
          </a:p>
        </p:txBody>
      </p:sp>
      <p:sp>
        <p:nvSpPr>
          <p:cNvPr id="57" name="Google Shape;5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11" y="38875"/>
            <a:ext cx="670613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fr-FR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 bwMode="auto">
          <a:xfrm>
            <a:off x="121489" y="4981290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fr-FR" sz="600" baseline="0" smtClean="0">
                <a:solidFill>
                  <a:srgbClr val="808080"/>
                </a:solidFill>
                <a:latin typeface="+mn-lt"/>
              </a:rPr>
              <a:pPr/>
              <a:t>‹N°›</a:t>
            </a:fld>
            <a:endParaRPr lang="fr-FR" sz="6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Google Shape;31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23868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85">
          <p15:clr>
            <a:srgbClr val="F26B43"/>
          </p15:clr>
        </p15:guide>
        <p15:guide id="2" pos="82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063E0EA-A2E6-6949-81A1-953618DF4F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CD5A2A2-6656-754A-9651-F45B72503A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85894A0-1103-6347-81DD-1BE13A0EF7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1D9E20-9AD1-524F-9480-E485218A4C01}" type="datetimeFigureOut">
              <a:rPr lang="x-none" smtClean="0"/>
              <a:t>29/04/2020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6965866-1CE8-9543-8EE8-3FD5FD2474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4F972A4-0477-1248-ABD9-D5FD0AF6C5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B0254-DA57-9E4D-8253-15EF8EC6ADEF}" type="slidenum">
              <a:rPr lang="x-none" smtClean="0"/>
              <a:t>‹N°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3106574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paradigm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Roboto"/>
              <a:buChar char="●"/>
              <a:defRPr sz="13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lvl="1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Roboto"/>
              <a:buChar char="○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lvl="2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Roboto"/>
              <a:buChar char="■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lvl="3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Roboto"/>
              <a:buChar char="●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lvl="4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Roboto"/>
              <a:buChar char="○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lvl="5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Roboto"/>
              <a:buChar char="■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lvl="6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Roboto"/>
              <a:buChar char="●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lvl="7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Roboto"/>
              <a:buChar char="○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lvl="8" indent="-29845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100"/>
              <a:buFont typeface="Roboto"/>
              <a:buChar char="■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algn="r">
              <a:buNone/>
              <a:defRPr sz="10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lvl="2" algn="r">
              <a:buNone/>
              <a:defRPr sz="10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lvl="3" algn="r">
              <a:buNone/>
              <a:defRPr sz="10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lvl="4" algn="r">
              <a:buNone/>
              <a:defRPr sz="10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lvl="5" algn="r">
              <a:buNone/>
              <a:defRPr sz="10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lvl="6" algn="r">
              <a:buNone/>
              <a:defRPr sz="10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lvl="7" algn="r">
              <a:buNone/>
              <a:defRPr sz="10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lvl="8" algn="r">
              <a:buNone/>
              <a:defRPr sz="10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°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1" r:id="rId2"/>
    <p:sldLayoutId id="2147483657" r:id="rId3"/>
    <p:sldLayoutId id="2147483662" r:id="rId4"/>
    <p:sldLayoutId id="2147483663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svg"/><Relationship Id="rId5" Type="http://schemas.openxmlformats.org/officeDocument/2006/relationships/image" Target="../media/image14.png"/><Relationship Id="rId4" Type="http://schemas.openxmlformats.org/officeDocument/2006/relationships/image" Target="../media/image25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svg"/><Relationship Id="rId5" Type="http://schemas.openxmlformats.org/officeDocument/2006/relationships/image" Target="../media/image14.png"/><Relationship Id="rId4" Type="http://schemas.openxmlformats.org/officeDocument/2006/relationships/image" Target="../media/image25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svg"/><Relationship Id="rId5" Type="http://schemas.openxmlformats.org/officeDocument/2006/relationships/image" Target="../media/image14.png"/><Relationship Id="rId4" Type="http://schemas.openxmlformats.org/officeDocument/2006/relationships/image" Target="../media/image25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svg"/><Relationship Id="rId5" Type="http://schemas.openxmlformats.org/officeDocument/2006/relationships/image" Target="../media/image13.png"/><Relationship Id="rId4" Type="http://schemas.openxmlformats.org/officeDocument/2006/relationships/image" Target="../media/image27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svg"/><Relationship Id="rId5" Type="http://schemas.openxmlformats.org/officeDocument/2006/relationships/image" Target="../media/image13.png"/><Relationship Id="rId4" Type="http://schemas.openxmlformats.org/officeDocument/2006/relationships/image" Target="../media/image27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svg"/><Relationship Id="rId5" Type="http://schemas.openxmlformats.org/officeDocument/2006/relationships/image" Target="../media/image13.png"/><Relationship Id="rId4" Type="http://schemas.openxmlformats.org/officeDocument/2006/relationships/image" Target="../media/image27.sv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7" Type="http://schemas.openxmlformats.org/officeDocument/2006/relationships/image" Target="../media/image33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31.svg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svg"/><Relationship Id="rId4" Type="http://schemas.openxmlformats.org/officeDocument/2006/relationships/image" Target="../media/image17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image" Target="../media/image17.svg"/><Relationship Id="rId7" Type="http://schemas.openxmlformats.org/officeDocument/2006/relationships/image" Target="../media/image20.png"/><Relationship Id="rId12" Type="http://schemas.openxmlformats.org/officeDocument/2006/relationships/image" Target="../media/image22.tif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svg"/><Relationship Id="rId11" Type="http://schemas.openxmlformats.org/officeDocument/2006/relationships/hyperlink" Target="http://www.autorisation.gov.tn/" TargetMode="External"/><Relationship Id="rId5" Type="http://schemas.openxmlformats.org/officeDocument/2006/relationships/image" Target="../media/image19.png"/><Relationship Id="rId10" Type="http://schemas.openxmlformats.org/officeDocument/2006/relationships/image" Target="../media/image40.svg"/><Relationship Id="rId4" Type="http://schemas.openxmlformats.org/officeDocument/2006/relationships/image" Target="../media/image18.tiff"/><Relationship Id="rId9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jpe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8.png"/><Relationship Id="rId4" Type="http://schemas.openxmlformats.org/officeDocument/2006/relationships/image" Target="../media/image27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5.sv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11.svg"/><Relationship Id="rId4" Type="http://schemas.openxmlformats.org/officeDocument/2006/relationships/image" Target="../media/image6.png"/><Relationship Id="rId9" Type="http://schemas.openxmlformats.org/officeDocument/2006/relationships/image" Target="../media/image15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://www.social.tn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svg"/><Relationship Id="rId5" Type="http://schemas.openxmlformats.org/officeDocument/2006/relationships/image" Target="../media/image10.png"/><Relationship Id="rId4" Type="http://schemas.openxmlformats.org/officeDocument/2006/relationships/image" Target="../media/image17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3"/>
          <p:cNvSpPr txBox="1">
            <a:spLocks noGrp="1"/>
          </p:cNvSpPr>
          <p:nvPr>
            <p:ph type="ctrTitle"/>
          </p:nvPr>
        </p:nvSpPr>
        <p:spPr>
          <a:xfrm>
            <a:off x="0" y="1590312"/>
            <a:ext cx="4094930" cy="1282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r"/>
            <a:r>
              <a:rPr lang="ar-TN" dirty="0">
                <a:cs typeface="+mj-cs"/>
              </a:rPr>
              <a:t>الاستراتيجية الوطنية للحجر الصحي الموجه</a:t>
            </a:r>
            <a:endParaRPr dirty="0">
              <a:cs typeface="+mj-cs"/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669096" y="4517021"/>
            <a:ext cx="4242600" cy="738300"/>
          </a:xfrm>
        </p:spPr>
        <p:txBody>
          <a:bodyPr/>
          <a:lstStyle/>
          <a:p>
            <a:pPr algn="r"/>
            <a:r>
              <a:rPr lang="fr-FR" b="1" dirty="0">
                <a:solidFill>
                  <a:schemeClr val="bg1"/>
                </a:solidFill>
              </a:rPr>
              <a:t>29 04 2020</a:t>
            </a:r>
          </a:p>
          <a:p>
            <a:pPr algn="r"/>
            <a:endParaRPr lang="fr-FR" b="1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2EBF55D-E1E9-D348-9D48-060304DA50F8}"/>
              </a:ext>
            </a:extLst>
          </p:cNvPr>
          <p:cNvSpPr/>
          <p:nvPr/>
        </p:nvSpPr>
        <p:spPr>
          <a:xfrm>
            <a:off x="4260300" y="257329"/>
            <a:ext cx="4572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ar-SA" sz="2000" dirty="0">
                <a:solidFill>
                  <a:srgbClr val="222222"/>
                </a:solidFill>
                <a:latin typeface="arial" panose="020B0604020202020204" pitchFamily="34" charset="0"/>
              </a:rPr>
              <a:t>الجمهورية التونسية</a:t>
            </a:r>
          </a:p>
          <a:p>
            <a:pPr algn="r"/>
            <a:r>
              <a:rPr lang="ar-SA" sz="2000" dirty="0">
                <a:solidFill>
                  <a:srgbClr val="222222"/>
                </a:solidFill>
                <a:latin typeface="arial" panose="020B0604020202020204" pitchFamily="34" charset="0"/>
              </a:rPr>
              <a:t/>
            </a:r>
            <a:br>
              <a:rPr lang="ar-SA" sz="2000" dirty="0">
                <a:solidFill>
                  <a:srgbClr val="222222"/>
                </a:solidFill>
                <a:latin typeface="arial" panose="020B0604020202020204" pitchFamily="34" charset="0"/>
              </a:rPr>
            </a:br>
            <a:endParaRPr lang="ar-SA" sz="2000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78146D8C-E436-0647-B0DD-1608E5930B2E}"/>
              </a:ext>
            </a:extLst>
          </p:cNvPr>
          <p:cNvSpPr/>
          <p:nvPr/>
        </p:nvSpPr>
        <p:spPr>
          <a:xfrm>
            <a:off x="4260300" y="637773"/>
            <a:ext cx="4572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ar-SA" sz="2000" dirty="0">
                <a:solidFill>
                  <a:srgbClr val="222222"/>
                </a:solidFill>
                <a:latin typeface="arial" panose="020B0604020202020204" pitchFamily="34" charset="0"/>
              </a:rPr>
              <a:t>رئاسة الحكومة</a:t>
            </a:r>
          </a:p>
          <a:p>
            <a:pPr algn="r"/>
            <a:r>
              <a:rPr lang="ar-SA" sz="2000" dirty="0">
                <a:solidFill>
                  <a:srgbClr val="222222"/>
                </a:solidFill>
                <a:latin typeface="arial" panose="020B0604020202020204" pitchFamily="34" charset="0"/>
              </a:rPr>
              <a:t/>
            </a:r>
            <a:br>
              <a:rPr lang="ar-SA" sz="2000" dirty="0">
                <a:solidFill>
                  <a:srgbClr val="222222"/>
                </a:solidFill>
                <a:latin typeface="arial" panose="020B0604020202020204" pitchFamily="34" charset="0"/>
              </a:rPr>
            </a:br>
            <a:endParaRPr lang="ar-SA" sz="2000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xmlns="" id="{4DC2AD60-510F-D548-94A6-CA290A9314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1020"/>
          <a:stretch/>
        </p:blipFill>
        <p:spPr>
          <a:xfrm>
            <a:off x="212288" y="193492"/>
            <a:ext cx="1449231" cy="852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5969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ar-TN" b="1" dirty="0">
                <a:latin typeface="+mj-lt"/>
                <a:cs typeface="+mj-cs"/>
              </a:rPr>
              <a:t>رزنامة المراحل</a:t>
            </a:r>
            <a:endParaRPr lang="fr-FR" b="1" dirty="0">
              <a:latin typeface="+mj-lt"/>
              <a:cs typeface="+mj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472067" y="2645720"/>
            <a:ext cx="4043283" cy="3547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dirty="0"/>
              <a:t>المرحلة 1 </a:t>
            </a:r>
            <a:endParaRPr lang="fr-FR" dirty="0"/>
          </a:p>
        </p:txBody>
      </p:sp>
      <p:sp>
        <p:nvSpPr>
          <p:cNvPr id="7" name="Rectangle 6"/>
          <p:cNvSpPr/>
          <p:nvPr/>
        </p:nvSpPr>
        <p:spPr>
          <a:xfrm>
            <a:off x="2373131" y="2645720"/>
            <a:ext cx="1998000" cy="3547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dirty="0"/>
              <a:t>المرحلة 2  </a:t>
            </a:r>
            <a:r>
              <a:rPr lang="fr-FR" dirty="0"/>
              <a:t> </a:t>
            </a:r>
          </a:p>
        </p:txBody>
      </p:sp>
      <p:sp>
        <p:nvSpPr>
          <p:cNvPr id="8" name="Rectangle 7"/>
          <p:cNvSpPr/>
          <p:nvPr/>
        </p:nvSpPr>
        <p:spPr>
          <a:xfrm>
            <a:off x="325724" y="2645720"/>
            <a:ext cx="1998000" cy="3547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dirty="0"/>
              <a:t>المرحلة 3</a:t>
            </a:r>
            <a:endParaRPr lang="fr-FR" dirty="0"/>
          </a:p>
        </p:txBody>
      </p:sp>
      <p:cxnSp>
        <p:nvCxnSpPr>
          <p:cNvPr id="10" name="Connecteur droit 9"/>
          <p:cNvCxnSpPr/>
          <p:nvPr/>
        </p:nvCxnSpPr>
        <p:spPr>
          <a:xfrm flipV="1">
            <a:off x="325725" y="3402466"/>
            <a:ext cx="8189626" cy="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riangle isocèle 12"/>
          <p:cNvSpPr/>
          <p:nvPr/>
        </p:nvSpPr>
        <p:spPr>
          <a:xfrm>
            <a:off x="4364067" y="3345177"/>
            <a:ext cx="108000" cy="1080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14" name="Triangle isocèle 13"/>
          <p:cNvSpPr/>
          <p:nvPr/>
        </p:nvSpPr>
        <p:spPr>
          <a:xfrm>
            <a:off x="2290896" y="3345177"/>
            <a:ext cx="108000" cy="1080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15" name="Triangle isocèle 14"/>
          <p:cNvSpPr/>
          <p:nvPr/>
        </p:nvSpPr>
        <p:spPr>
          <a:xfrm>
            <a:off x="8461350" y="3348465"/>
            <a:ext cx="108000" cy="1080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16" name="ZoneTexte 15"/>
          <p:cNvSpPr txBox="1"/>
          <p:nvPr/>
        </p:nvSpPr>
        <p:spPr>
          <a:xfrm>
            <a:off x="7451125" y="3742531"/>
            <a:ext cx="12603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1050" dirty="0"/>
              <a:t>04 ماي 2020</a:t>
            </a:r>
            <a:endParaRPr lang="fr-FR" sz="1050" dirty="0"/>
          </a:p>
        </p:txBody>
      </p:sp>
      <p:sp>
        <p:nvSpPr>
          <p:cNvPr id="21" name="ZoneTexte 20"/>
          <p:cNvSpPr txBox="1"/>
          <p:nvPr/>
        </p:nvSpPr>
        <p:spPr>
          <a:xfrm>
            <a:off x="3325039" y="4345672"/>
            <a:ext cx="4488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1800" b="1" dirty="0">
                <a:solidFill>
                  <a:srgbClr val="C00000"/>
                </a:solidFill>
              </a:rPr>
              <a:t>إمكانية التمديد في المرحلة و إعادة النظر </a:t>
            </a:r>
            <a:endParaRPr lang="fr-FR" sz="1800" b="1" dirty="0">
              <a:solidFill>
                <a:srgbClr val="C00000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304E0033-7591-9546-A0B9-030D3FDD6209}"/>
              </a:ext>
            </a:extLst>
          </p:cNvPr>
          <p:cNvSpPr txBox="1"/>
          <p:nvPr/>
        </p:nvSpPr>
        <p:spPr>
          <a:xfrm>
            <a:off x="250790" y="1682795"/>
            <a:ext cx="8378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جدول مرن يأخذ  بعين الاعتبار تطور الوضع الوبائي والجاهزية في توفير الشروط الأساسية لضمان الوقاية </a:t>
            </a:r>
            <a:endParaRPr lang="x-none" sz="1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ZoneTexte 21">
            <a:extLst>
              <a:ext uri="{FF2B5EF4-FFF2-40B4-BE49-F238E27FC236}">
                <a16:creationId xmlns:a16="http://schemas.microsoft.com/office/drawing/2014/main" xmlns="" id="{1C01DD8A-24B3-874C-A9F3-8EFC1BA819D2}"/>
              </a:ext>
            </a:extLst>
          </p:cNvPr>
          <p:cNvSpPr txBox="1"/>
          <p:nvPr/>
        </p:nvSpPr>
        <p:spPr>
          <a:xfrm>
            <a:off x="1609123" y="3700577"/>
            <a:ext cx="12603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1050" dirty="0"/>
              <a:t>   04جوان 2020</a:t>
            </a:r>
            <a:endParaRPr lang="fr-FR" sz="1050" dirty="0"/>
          </a:p>
        </p:txBody>
      </p:sp>
      <p:sp>
        <p:nvSpPr>
          <p:cNvPr id="25" name="ZoneTexte 21">
            <a:extLst>
              <a:ext uri="{FF2B5EF4-FFF2-40B4-BE49-F238E27FC236}">
                <a16:creationId xmlns:a16="http://schemas.microsoft.com/office/drawing/2014/main" xmlns="" id="{32B39023-6DC9-9841-BD50-8DFD0A1E9E86}"/>
              </a:ext>
            </a:extLst>
          </p:cNvPr>
          <p:cNvSpPr txBox="1"/>
          <p:nvPr/>
        </p:nvSpPr>
        <p:spPr>
          <a:xfrm>
            <a:off x="-182070" y="3700577"/>
            <a:ext cx="12603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1050" dirty="0"/>
              <a:t> جوان 2020</a:t>
            </a:r>
            <a:r>
              <a:rPr lang="en-US" sz="1050" dirty="0"/>
              <a:t>14</a:t>
            </a:r>
            <a:endParaRPr lang="fr-FR" sz="1050" dirty="0"/>
          </a:p>
        </p:txBody>
      </p:sp>
      <p:sp>
        <p:nvSpPr>
          <p:cNvPr id="26" name="ZoneTexte 17">
            <a:extLst>
              <a:ext uri="{FF2B5EF4-FFF2-40B4-BE49-F238E27FC236}">
                <a16:creationId xmlns:a16="http://schemas.microsoft.com/office/drawing/2014/main" xmlns="" id="{CC9D5C04-0BC5-FA48-A0FF-BF0380106961}"/>
              </a:ext>
            </a:extLst>
          </p:cNvPr>
          <p:cNvSpPr txBox="1"/>
          <p:nvPr/>
        </p:nvSpPr>
        <p:spPr>
          <a:xfrm>
            <a:off x="3615562" y="3818716"/>
            <a:ext cx="12603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1050" dirty="0"/>
              <a:t>24 ماي 2020</a:t>
            </a:r>
            <a:endParaRPr lang="fr-FR" sz="1050" dirty="0"/>
          </a:p>
        </p:txBody>
      </p:sp>
      <p:sp>
        <p:nvSpPr>
          <p:cNvPr id="27" name="Triangle isocèle 13">
            <a:extLst>
              <a:ext uri="{FF2B5EF4-FFF2-40B4-BE49-F238E27FC236}">
                <a16:creationId xmlns:a16="http://schemas.microsoft.com/office/drawing/2014/main" xmlns="" id="{A1CC5686-5193-7E47-A4A0-14BE306E3018}"/>
              </a:ext>
            </a:extLst>
          </p:cNvPr>
          <p:cNvSpPr/>
          <p:nvPr/>
        </p:nvSpPr>
        <p:spPr>
          <a:xfrm>
            <a:off x="291113" y="3352613"/>
            <a:ext cx="108000" cy="1080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pic>
        <p:nvPicPr>
          <p:cNvPr id="29" name="Graphic 28" descr="Warning">
            <a:extLst>
              <a:ext uri="{FF2B5EF4-FFF2-40B4-BE49-F238E27FC236}">
                <a16:creationId xmlns:a16="http://schemas.microsoft.com/office/drawing/2014/main" xmlns="" id="{FD47351F-C3EC-AC40-B63C-2BC43CC9D7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790182" y="4120789"/>
            <a:ext cx="754453" cy="754453"/>
          </a:xfrm>
          <a:prstGeom prst="rect">
            <a:avLst/>
          </a:prstGeom>
        </p:spPr>
      </p:pic>
      <p:sp>
        <p:nvSpPr>
          <p:cNvPr id="22" name="4-point Star 72">
            <a:extLst>
              <a:ext uri="{FF2B5EF4-FFF2-40B4-BE49-F238E27FC236}">
                <a16:creationId xmlns:a16="http://schemas.microsoft.com/office/drawing/2014/main" xmlns="" id="{09C88824-FE17-924A-8686-2B5B4D4E7DD0}"/>
              </a:ext>
            </a:extLst>
          </p:cNvPr>
          <p:cNvSpPr/>
          <p:nvPr/>
        </p:nvSpPr>
        <p:spPr>
          <a:xfrm>
            <a:off x="4472067" y="3511593"/>
            <a:ext cx="288000" cy="288000"/>
          </a:xfrm>
          <a:prstGeom prst="star4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8" name="TextBox 76">
            <a:extLst>
              <a:ext uri="{FF2B5EF4-FFF2-40B4-BE49-F238E27FC236}">
                <a16:creationId xmlns:a16="http://schemas.microsoft.com/office/drawing/2014/main" xmlns="" id="{CF5B600F-70DF-E341-B705-5689902F7CA0}"/>
              </a:ext>
            </a:extLst>
          </p:cNvPr>
          <p:cNvSpPr txBox="1"/>
          <p:nvPr/>
        </p:nvSpPr>
        <p:spPr>
          <a:xfrm>
            <a:off x="4552395" y="3501704"/>
            <a:ext cx="7716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TN" dirty="0"/>
              <a:t>العيد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8441249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7898C33-0E81-264F-A582-60A9B31B1D4B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ar-TN" dirty="0"/>
              <a:t>تدعيم القطاعات الحيوية</a:t>
            </a:r>
            <a:endParaRPr lang="ar-SA" b="1" dirty="0">
              <a:latin typeface="+mj-lt"/>
              <a:cs typeface="+mj-cs"/>
            </a:endParaRP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xmlns="" id="{7AAB2EFF-C5BB-C24B-A6F8-CA680E38B4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7775603"/>
              </p:ext>
            </p:extLst>
          </p:nvPr>
        </p:nvGraphicFramePr>
        <p:xfrm>
          <a:off x="25743" y="1520689"/>
          <a:ext cx="5493026" cy="3232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Block Arc 19">
            <a:extLst>
              <a:ext uri="{FF2B5EF4-FFF2-40B4-BE49-F238E27FC236}">
                <a16:creationId xmlns:a16="http://schemas.microsoft.com/office/drawing/2014/main" xmlns="" id="{DDC701F0-B3C6-F242-AA66-BDBD98A67B56}"/>
              </a:ext>
            </a:extLst>
          </p:cNvPr>
          <p:cNvSpPr/>
          <p:nvPr/>
        </p:nvSpPr>
        <p:spPr>
          <a:xfrm rot="5400000">
            <a:off x="1079980" y="1462021"/>
            <a:ext cx="3420994" cy="3349487"/>
          </a:xfrm>
          <a:prstGeom prst="blockArc">
            <a:avLst>
              <a:gd name="adj1" fmla="val 9189583"/>
              <a:gd name="adj2" fmla="val 3129636"/>
              <a:gd name="adj3" fmla="val 1802"/>
            </a:avLst>
          </a:prstGeom>
          <a:solidFill>
            <a:schemeClr val="accent5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24" name="Moon 23">
            <a:extLst>
              <a:ext uri="{FF2B5EF4-FFF2-40B4-BE49-F238E27FC236}">
                <a16:creationId xmlns:a16="http://schemas.microsoft.com/office/drawing/2014/main" xmlns="" id="{44B33E05-CD11-234A-997E-EE369442B540}"/>
              </a:ext>
            </a:extLst>
          </p:cNvPr>
          <p:cNvSpPr/>
          <p:nvPr/>
        </p:nvSpPr>
        <p:spPr>
          <a:xfrm>
            <a:off x="265936" y="1473477"/>
            <a:ext cx="1760883" cy="3420995"/>
          </a:xfrm>
          <a:prstGeom prst="moon">
            <a:avLst>
              <a:gd name="adj" fmla="val 3687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78C0DAA4-2352-A640-8908-BFDBAA2B74CC}"/>
              </a:ext>
            </a:extLst>
          </p:cNvPr>
          <p:cNvSpPr txBox="1"/>
          <p:nvPr/>
        </p:nvSpPr>
        <p:spPr>
          <a:xfrm rot="16200000">
            <a:off x="-703958" y="2952182"/>
            <a:ext cx="25775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x-none" dirty="0">
              <a:solidFill>
                <a:schemeClr val="bg1"/>
              </a:solidFill>
            </a:endParaRPr>
          </a:p>
          <a:p>
            <a:pPr algn="ctr"/>
            <a:r>
              <a:rPr lang="x-none" dirty="0">
                <a:solidFill>
                  <a:schemeClr val="bg1"/>
                </a:solidFill>
              </a:rPr>
              <a:t> </a:t>
            </a:r>
            <a:r>
              <a:rPr lang="ar-TN" dirty="0">
                <a:solidFill>
                  <a:schemeClr val="bg1"/>
                </a:solidFill>
              </a:rPr>
              <a:t>الإدارة 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648EF25-8637-CF4C-9880-DCB1D1EB0143}"/>
              </a:ext>
            </a:extLst>
          </p:cNvPr>
          <p:cNvSpPr/>
          <p:nvPr/>
        </p:nvSpPr>
        <p:spPr>
          <a:xfrm rot="6191277">
            <a:off x="1420174" y="4230336"/>
            <a:ext cx="3150089" cy="454602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10980964"/>
              </a:avLst>
            </a:prstTxWarp>
            <a:spAutoFit/>
          </a:bodyPr>
          <a:lstStyle/>
          <a:p>
            <a:r>
              <a:rPr lang="ar-SA" sz="2000" b="1" dirty="0">
                <a:solidFill>
                  <a:schemeClr val="accent5">
                    <a:lumMod val="50000"/>
                  </a:schemeClr>
                </a:solidFill>
              </a:rPr>
              <a:t>وسلاسل القيمة المرتبطة بها</a:t>
            </a:r>
          </a:p>
          <a:p>
            <a:r>
              <a:rPr lang="ar-SA" sz="20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ar-SA" sz="2000" b="1" dirty="0">
                <a:solidFill>
                  <a:schemeClr val="accent5">
                    <a:lumMod val="50000"/>
                  </a:schemeClr>
                </a:solidFill>
              </a:rPr>
            </a:br>
            <a:endParaRPr lang="ar-SA" sz="2000" b="1" dirty="0">
              <a:solidFill>
                <a:schemeClr val="accent5">
                  <a:lumMod val="50000"/>
                </a:schemeClr>
              </a:solidFill>
            </a:endParaRPr>
          </a:p>
          <a:p>
            <a:pPr algn="ctr"/>
            <a:endParaRPr lang="en-GB" sz="7200" b="1" cap="none" spc="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xmlns="" id="{7FDC6319-36F7-EA49-85E0-18C0B3D050C7}"/>
              </a:ext>
            </a:extLst>
          </p:cNvPr>
          <p:cNvGraphicFramePr/>
          <p:nvPr/>
        </p:nvGraphicFramePr>
        <p:xfrm>
          <a:off x="6454239" y="2005260"/>
          <a:ext cx="2512755" cy="22630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cxnSp>
        <p:nvCxnSpPr>
          <p:cNvPr id="7" name="Elbow Connector 6">
            <a:extLst>
              <a:ext uri="{FF2B5EF4-FFF2-40B4-BE49-F238E27FC236}">
                <a16:creationId xmlns:a16="http://schemas.microsoft.com/office/drawing/2014/main" xmlns="" id="{A81320B9-14C1-E145-8029-2E6007916C2D}"/>
              </a:ext>
            </a:extLst>
          </p:cNvPr>
          <p:cNvCxnSpPr/>
          <p:nvPr/>
        </p:nvCxnSpPr>
        <p:spPr>
          <a:xfrm rot="5400000">
            <a:off x="2863021" y="2593211"/>
            <a:ext cx="3420995" cy="1202076"/>
          </a:xfrm>
          <a:prstGeom prst="bentConnector3">
            <a:avLst>
              <a:gd name="adj1" fmla="val 100155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8C52B19F-B6D8-AB4E-AE84-2B956E68AFA0}"/>
              </a:ext>
            </a:extLst>
          </p:cNvPr>
          <p:cNvSpPr/>
          <p:nvPr/>
        </p:nvSpPr>
        <p:spPr>
          <a:xfrm rot="5400000">
            <a:off x="3008469" y="2684988"/>
            <a:ext cx="4572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ar-SA" sz="2000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</a:rPr>
              <a:t>1.5 مليون تونسي</a:t>
            </a:r>
            <a:br>
              <a:rPr lang="ar-SA" sz="2000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</a:rPr>
            </a:br>
            <a:endParaRPr lang="ar-SA" sz="2000" b="1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0" name="Cross 9">
            <a:extLst>
              <a:ext uri="{FF2B5EF4-FFF2-40B4-BE49-F238E27FC236}">
                <a16:creationId xmlns:a16="http://schemas.microsoft.com/office/drawing/2014/main" xmlns="" id="{08585E2A-9D64-5846-8A25-40D98883C7B2}"/>
              </a:ext>
            </a:extLst>
          </p:cNvPr>
          <p:cNvSpPr/>
          <p:nvPr/>
        </p:nvSpPr>
        <p:spPr>
          <a:xfrm>
            <a:off x="5859529" y="2818264"/>
            <a:ext cx="585627" cy="636997"/>
          </a:xfrm>
          <a:prstGeom prst="plus">
            <a:avLst>
              <a:gd name="adj" fmla="val 39035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E1251CE8-90FD-594F-B0F3-8B9EF6EAD7CE}"/>
              </a:ext>
            </a:extLst>
          </p:cNvPr>
          <p:cNvSpPr/>
          <p:nvPr/>
        </p:nvSpPr>
        <p:spPr>
          <a:xfrm>
            <a:off x="6724255" y="2542762"/>
            <a:ext cx="1188000" cy="1188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381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sz="2000" b="1" dirty="0"/>
              <a:t>عدد اضافي</a:t>
            </a:r>
            <a:endParaRPr lang="x-none" sz="2000" b="1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2063F7D3-BA9B-7F48-A836-420579B66641}"/>
              </a:ext>
            </a:extLst>
          </p:cNvPr>
          <p:cNvSpPr/>
          <p:nvPr/>
        </p:nvSpPr>
        <p:spPr>
          <a:xfrm>
            <a:off x="5032255" y="4379708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ar-TN" sz="2000" b="1" dirty="0">
                <a:solidFill>
                  <a:srgbClr val="222222"/>
                </a:solidFill>
                <a:latin typeface="arial" panose="020B0604020202020204" pitchFamily="34" charset="0"/>
              </a:rPr>
              <a:t>ضرورة التامين من المخاطر الصحية </a:t>
            </a:r>
            <a:endParaRPr lang="ar-SA" sz="2000" b="1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9D5681B8-7EC7-D24E-83FB-5EC32063CE41}"/>
              </a:ext>
            </a:extLst>
          </p:cNvPr>
          <p:cNvSpPr txBox="1">
            <a:spLocks/>
          </p:cNvSpPr>
          <p:nvPr/>
        </p:nvSpPr>
        <p:spPr>
          <a:xfrm>
            <a:off x="204921" y="214416"/>
            <a:ext cx="8520600" cy="62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9pPr>
          </a:lstStyle>
          <a:p>
            <a:pPr algn="ctr"/>
            <a:endParaRPr lang="x-none" sz="2000" dirty="0"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209036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Rectangle 90">
            <a:extLst>
              <a:ext uri="{FF2B5EF4-FFF2-40B4-BE49-F238E27FC236}">
                <a16:creationId xmlns:a16="http://schemas.microsoft.com/office/drawing/2014/main" xmlns="" id="{97C419FC-A765-F94B-90E6-8356FDF0D8C4}"/>
              </a:ext>
            </a:extLst>
          </p:cNvPr>
          <p:cNvSpPr/>
          <p:nvPr/>
        </p:nvSpPr>
        <p:spPr>
          <a:xfrm>
            <a:off x="2040743" y="3837278"/>
            <a:ext cx="1620000" cy="5976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ar-TN" sz="1200" dirty="0">
                <a:solidFill>
                  <a:schemeClr val="bg2"/>
                </a:solidFill>
              </a:rPr>
              <a:t>الأسواق الاسبوعية </a:t>
            </a:r>
          </a:p>
          <a:p>
            <a:pPr algn="ctr"/>
            <a:r>
              <a:rPr lang="ar-TN" sz="1200" dirty="0">
                <a:solidFill>
                  <a:schemeClr val="bg2"/>
                </a:solidFill>
              </a:rPr>
              <a:t>واسواق الدواب</a:t>
            </a:r>
            <a:endParaRPr lang="x-none" sz="1200" dirty="0">
              <a:solidFill>
                <a:schemeClr val="bg2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xmlns="" id="{3ECB9A46-6513-A744-9F04-ECA353BEA515}"/>
              </a:ext>
            </a:extLst>
          </p:cNvPr>
          <p:cNvSpPr/>
          <p:nvPr/>
        </p:nvSpPr>
        <p:spPr>
          <a:xfrm>
            <a:off x="2010753" y="4687350"/>
            <a:ext cx="1620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ar-TN" sz="1200" dirty="0">
                <a:solidFill>
                  <a:schemeClr val="bg2"/>
                </a:solidFill>
              </a:rPr>
              <a:t>البكالوريا</a:t>
            </a:r>
            <a:endParaRPr lang="x-none" sz="1200" dirty="0">
              <a:solidFill>
                <a:schemeClr val="bg2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xmlns="" id="{97C419FC-A765-F94B-90E6-8356FDF0D8C4}"/>
              </a:ext>
            </a:extLst>
          </p:cNvPr>
          <p:cNvSpPr/>
          <p:nvPr/>
        </p:nvSpPr>
        <p:spPr>
          <a:xfrm>
            <a:off x="3905728" y="3724412"/>
            <a:ext cx="3391116" cy="3723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1"/>
            <a:r>
              <a:rPr lang="ar-TN" sz="1200" dirty="0">
                <a:solidFill>
                  <a:schemeClr val="bg2"/>
                </a:solidFill>
              </a:rPr>
              <a:t> </a:t>
            </a:r>
            <a:r>
              <a:rPr lang="ar-TN" sz="1200" b="1" dirty="0">
                <a:solidFill>
                  <a:schemeClr val="bg2"/>
                </a:solidFill>
              </a:rPr>
              <a:t>بالتناوب </a:t>
            </a:r>
            <a:r>
              <a:rPr lang="fr-FR" sz="1200" b="1" dirty="0">
                <a:solidFill>
                  <a:schemeClr val="bg2"/>
                </a:solidFill>
              </a:rPr>
              <a:t> :</a:t>
            </a:r>
            <a:r>
              <a:rPr lang="ar-TN" sz="1200" dirty="0">
                <a:solidFill>
                  <a:schemeClr val="bg2"/>
                </a:solidFill>
              </a:rPr>
              <a:t>كل الأنشطة ما عدى الحلاقة و التجميل انطلاقا من 11 ماي </a:t>
            </a:r>
            <a:endParaRPr lang="x-none" sz="1200" dirty="0">
              <a:solidFill>
                <a:schemeClr val="bg2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11725" y="353441"/>
            <a:ext cx="8520600" cy="623700"/>
          </a:xfrm>
        </p:spPr>
        <p:txBody>
          <a:bodyPr>
            <a:normAutofit fontScale="90000"/>
          </a:bodyPr>
          <a:lstStyle/>
          <a:p>
            <a:pPr algn="ctr"/>
            <a:r>
              <a:rPr lang="ar-TN" sz="3200" b="1" dirty="0">
                <a:cs typeface="+mj-cs"/>
              </a:rPr>
              <a:t>ملخص المراحل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idx="12"/>
          </p:nvPr>
        </p:nvSpPr>
        <p:spPr>
          <a:xfrm>
            <a:off x="8383379" y="4435519"/>
            <a:ext cx="548700" cy="393600"/>
          </a:xfrm>
        </p:spPr>
        <p:txBody>
          <a:bodyPr/>
          <a:lstStyle/>
          <a:p>
            <a:fld id="{95053B54-5CE3-4CEB-B3A3-17F0D09E9FB8}" type="slidenum">
              <a:rPr lang="fr-FR" smtClean="0"/>
              <a:t>12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3904868" y="952411"/>
            <a:ext cx="3289568" cy="261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b="1" dirty="0">
                <a:solidFill>
                  <a:schemeClr val="bg2"/>
                </a:solidFill>
              </a:rPr>
              <a:t>المرحلة 1 </a:t>
            </a:r>
            <a:endParaRPr lang="fr-FR" b="1" dirty="0">
              <a:solidFill>
                <a:schemeClr val="bg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081127" y="952411"/>
            <a:ext cx="1620000" cy="261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b="1" dirty="0">
                <a:solidFill>
                  <a:schemeClr val="bg2"/>
                </a:solidFill>
              </a:rPr>
              <a:t>المرحلة 2  </a:t>
            </a:r>
            <a:r>
              <a:rPr lang="fr-FR" b="1" dirty="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8" name="Rectangle 7"/>
          <p:cNvSpPr/>
          <p:nvPr/>
        </p:nvSpPr>
        <p:spPr>
          <a:xfrm>
            <a:off x="447426" y="952411"/>
            <a:ext cx="1620000" cy="261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b="1" dirty="0">
                <a:solidFill>
                  <a:schemeClr val="bg2"/>
                </a:solidFill>
              </a:rPr>
              <a:t>المرحلة 3</a:t>
            </a:r>
            <a:endParaRPr lang="fr-FR" b="1" dirty="0">
              <a:solidFill>
                <a:schemeClr val="bg2"/>
              </a:solidFill>
            </a:endParaRPr>
          </a:p>
        </p:txBody>
      </p:sp>
      <p:cxnSp>
        <p:nvCxnSpPr>
          <p:cNvPr id="10" name="Connecteur droit 9"/>
          <p:cNvCxnSpPr/>
          <p:nvPr/>
        </p:nvCxnSpPr>
        <p:spPr>
          <a:xfrm flipV="1">
            <a:off x="325725" y="1321469"/>
            <a:ext cx="6876000" cy="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riangle isocèle 12"/>
          <p:cNvSpPr/>
          <p:nvPr/>
        </p:nvSpPr>
        <p:spPr>
          <a:xfrm>
            <a:off x="3701127" y="1264179"/>
            <a:ext cx="108000" cy="1080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14" name="Triangle isocèle 13"/>
          <p:cNvSpPr/>
          <p:nvPr/>
        </p:nvSpPr>
        <p:spPr>
          <a:xfrm>
            <a:off x="1959426" y="1264179"/>
            <a:ext cx="108000" cy="1080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15" name="Triangle isocèle 14"/>
          <p:cNvSpPr/>
          <p:nvPr/>
        </p:nvSpPr>
        <p:spPr>
          <a:xfrm>
            <a:off x="7124040" y="1267467"/>
            <a:ext cx="108000" cy="1080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16" name="ZoneTexte 15"/>
          <p:cNvSpPr txBox="1"/>
          <p:nvPr/>
        </p:nvSpPr>
        <p:spPr>
          <a:xfrm>
            <a:off x="6374886" y="1050792"/>
            <a:ext cx="12603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1050" b="1" dirty="0"/>
              <a:t>4 ماي 2020</a:t>
            </a:r>
            <a:endParaRPr lang="fr-FR" sz="1050" b="1" dirty="0"/>
          </a:p>
        </p:txBody>
      </p:sp>
      <p:sp>
        <p:nvSpPr>
          <p:cNvPr id="21" name="ZoneTexte 20"/>
          <p:cNvSpPr txBox="1"/>
          <p:nvPr/>
        </p:nvSpPr>
        <p:spPr>
          <a:xfrm>
            <a:off x="3884969" y="138338"/>
            <a:ext cx="4488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1800" b="1" dirty="0">
                <a:solidFill>
                  <a:srgbClr val="FFC000"/>
                </a:solidFill>
              </a:rPr>
              <a:t>إمكانية التمديد في المرحلة و إعادة النظر </a:t>
            </a:r>
            <a:endParaRPr lang="fr-FR" sz="1800" b="1" dirty="0">
              <a:solidFill>
                <a:srgbClr val="FFC000"/>
              </a:solidFill>
            </a:endParaRPr>
          </a:p>
        </p:txBody>
      </p:sp>
      <p:sp>
        <p:nvSpPr>
          <p:cNvPr id="24" name="ZoneTexte 21">
            <a:extLst>
              <a:ext uri="{FF2B5EF4-FFF2-40B4-BE49-F238E27FC236}">
                <a16:creationId xmlns:a16="http://schemas.microsoft.com/office/drawing/2014/main" xmlns="" id="{1C01DD8A-24B3-874C-A9F3-8EFC1BA819D2}"/>
              </a:ext>
            </a:extLst>
          </p:cNvPr>
          <p:cNvSpPr txBox="1"/>
          <p:nvPr/>
        </p:nvSpPr>
        <p:spPr>
          <a:xfrm>
            <a:off x="1241725" y="1048934"/>
            <a:ext cx="12603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1050" b="1" dirty="0"/>
              <a:t>4 جوان 2020</a:t>
            </a:r>
            <a:endParaRPr lang="fr-FR" sz="1050" b="1" dirty="0"/>
          </a:p>
        </p:txBody>
      </p:sp>
      <p:sp>
        <p:nvSpPr>
          <p:cNvPr id="25" name="ZoneTexte 21">
            <a:extLst>
              <a:ext uri="{FF2B5EF4-FFF2-40B4-BE49-F238E27FC236}">
                <a16:creationId xmlns:a16="http://schemas.microsoft.com/office/drawing/2014/main" xmlns="" id="{32B39023-6DC9-9841-BD50-8DFD0A1E9E86}"/>
              </a:ext>
            </a:extLst>
          </p:cNvPr>
          <p:cNvSpPr txBox="1"/>
          <p:nvPr/>
        </p:nvSpPr>
        <p:spPr>
          <a:xfrm>
            <a:off x="-307942" y="1068406"/>
            <a:ext cx="12603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1050" b="1" dirty="0"/>
              <a:t>14 جوان 2020</a:t>
            </a:r>
            <a:endParaRPr lang="fr-FR" sz="1050" b="1" dirty="0"/>
          </a:p>
        </p:txBody>
      </p:sp>
      <p:sp>
        <p:nvSpPr>
          <p:cNvPr id="26" name="ZoneTexte 17">
            <a:extLst>
              <a:ext uri="{FF2B5EF4-FFF2-40B4-BE49-F238E27FC236}">
                <a16:creationId xmlns:a16="http://schemas.microsoft.com/office/drawing/2014/main" xmlns="" id="{CC9D5C04-0BC5-FA48-A0FF-BF0380106961}"/>
              </a:ext>
            </a:extLst>
          </p:cNvPr>
          <p:cNvSpPr txBox="1"/>
          <p:nvPr/>
        </p:nvSpPr>
        <p:spPr>
          <a:xfrm>
            <a:off x="3019930" y="1075540"/>
            <a:ext cx="12603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1050" b="1" dirty="0"/>
              <a:t>24 ماي 2020</a:t>
            </a:r>
            <a:endParaRPr lang="fr-FR" sz="1050" b="1" dirty="0"/>
          </a:p>
        </p:txBody>
      </p:sp>
      <p:sp>
        <p:nvSpPr>
          <p:cNvPr id="27" name="Triangle isocèle 13">
            <a:extLst>
              <a:ext uri="{FF2B5EF4-FFF2-40B4-BE49-F238E27FC236}">
                <a16:creationId xmlns:a16="http://schemas.microsoft.com/office/drawing/2014/main" xmlns="" id="{A1CC5686-5193-7E47-A4A0-14BE306E3018}"/>
              </a:ext>
            </a:extLst>
          </p:cNvPr>
          <p:cNvSpPr/>
          <p:nvPr/>
        </p:nvSpPr>
        <p:spPr>
          <a:xfrm>
            <a:off x="291113" y="1271615"/>
            <a:ext cx="108000" cy="1080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pic>
        <p:nvPicPr>
          <p:cNvPr id="29" name="Graphic 28" descr="Warning">
            <a:extLst>
              <a:ext uri="{FF2B5EF4-FFF2-40B4-BE49-F238E27FC236}">
                <a16:creationId xmlns:a16="http://schemas.microsoft.com/office/drawing/2014/main" xmlns="" id="{FD47351F-C3EC-AC40-B63C-2BC43CC9D7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251729" y="47989"/>
            <a:ext cx="580546" cy="580546"/>
          </a:xfrm>
          <a:prstGeom prst="rect">
            <a:avLst/>
          </a:prstGeom>
        </p:spPr>
      </p:pic>
      <p:sp>
        <p:nvSpPr>
          <p:cNvPr id="73" name="4-point Star 72">
            <a:extLst>
              <a:ext uri="{FF2B5EF4-FFF2-40B4-BE49-F238E27FC236}">
                <a16:creationId xmlns:a16="http://schemas.microsoft.com/office/drawing/2014/main" xmlns="" id="{09C88824-FE17-924A-8686-2B5B4D4E7DD0}"/>
              </a:ext>
            </a:extLst>
          </p:cNvPr>
          <p:cNvSpPr/>
          <p:nvPr/>
        </p:nvSpPr>
        <p:spPr>
          <a:xfrm>
            <a:off x="3591957" y="4756762"/>
            <a:ext cx="288000" cy="288000"/>
          </a:xfrm>
          <a:prstGeom prst="star4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xmlns="" id="{1053205E-F505-1144-B99C-ACEB156FE0D1}"/>
              </a:ext>
            </a:extLst>
          </p:cNvPr>
          <p:cNvCxnSpPr>
            <a:cxnSpLocks/>
          </p:cNvCxnSpPr>
          <p:nvPr/>
        </p:nvCxnSpPr>
        <p:spPr>
          <a:xfrm>
            <a:off x="3712557" y="1578657"/>
            <a:ext cx="0" cy="320321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CF5B600F-70DF-E341-B705-5689902F7CA0}"/>
              </a:ext>
            </a:extLst>
          </p:cNvPr>
          <p:cNvSpPr txBox="1"/>
          <p:nvPr/>
        </p:nvSpPr>
        <p:spPr>
          <a:xfrm>
            <a:off x="3672285" y="4746873"/>
            <a:ext cx="7716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TN" dirty="0"/>
              <a:t>العيد</a:t>
            </a:r>
            <a:endParaRPr lang="x-none" dirty="0"/>
          </a:p>
        </p:txBody>
      </p:sp>
      <p:sp>
        <p:nvSpPr>
          <p:cNvPr id="53" name="Pentagon 52">
            <a:extLst>
              <a:ext uri="{FF2B5EF4-FFF2-40B4-BE49-F238E27FC236}">
                <a16:creationId xmlns:a16="http://schemas.microsoft.com/office/drawing/2014/main" xmlns="" id="{406F9F26-85AB-694B-B101-D4F02954E548}"/>
              </a:ext>
            </a:extLst>
          </p:cNvPr>
          <p:cNvSpPr/>
          <p:nvPr/>
        </p:nvSpPr>
        <p:spPr>
          <a:xfrm flipH="1">
            <a:off x="7511854" y="2350909"/>
            <a:ext cx="1454981" cy="356400"/>
          </a:xfrm>
          <a:prstGeom prst="homePlate">
            <a:avLst>
              <a:gd name="adj" fmla="val 20455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sz="1200" b="1" dirty="0"/>
              <a:t>الخدمات</a:t>
            </a:r>
            <a:endParaRPr lang="x-none" sz="1200" dirty="0"/>
          </a:p>
        </p:txBody>
      </p:sp>
      <p:sp>
        <p:nvSpPr>
          <p:cNvPr id="55" name="Pentagon 54">
            <a:extLst>
              <a:ext uri="{FF2B5EF4-FFF2-40B4-BE49-F238E27FC236}">
                <a16:creationId xmlns:a16="http://schemas.microsoft.com/office/drawing/2014/main" xmlns="" id="{9A6CE3D4-02AA-2746-8BDB-B9303E10AE8D}"/>
              </a:ext>
            </a:extLst>
          </p:cNvPr>
          <p:cNvSpPr/>
          <p:nvPr/>
        </p:nvSpPr>
        <p:spPr>
          <a:xfrm flipH="1">
            <a:off x="7511854" y="1908279"/>
            <a:ext cx="1454981" cy="356400"/>
          </a:xfrm>
          <a:prstGeom prst="homePlate">
            <a:avLst>
              <a:gd name="adj" fmla="val 20455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sz="1200" dirty="0"/>
              <a:t>الصناعة </a:t>
            </a:r>
            <a:endParaRPr lang="x-none" sz="1200" dirty="0"/>
          </a:p>
        </p:txBody>
      </p:sp>
      <p:sp>
        <p:nvSpPr>
          <p:cNvPr id="56" name="Pentagon 55">
            <a:extLst>
              <a:ext uri="{FF2B5EF4-FFF2-40B4-BE49-F238E27FC236}">
                <a16:creationId xmlns:a16="http://schemas.microsoft.com/office/drawing/2014/main" xmlns="" id="{66AD605D-816B-4940-B7F7-352745F29E65}"/>
              </a:ext>
            </a:extLst>
          </p:cNvPr>
          <p:cNvSpPr/>
          <p:nvPr/>
        </p:nvSpPr>
        <p:spPr>
          <a:xfrm flipH="1">
            <a:off x="7511854" y="3232882"/>
            <a:ext cx="1454981" cy="356400"/>
          </a:xfrm>
          <a:prstGeom prst="homePlate">
            <a:avLst>
              <a:gd name="adj" fmla="val 20455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sz="1200" dirty="0"/>
              <a:t>اشغال عامة واشغال البناء</a:t>
            </a:r>
            <a:endParaRPr lang="x-none" sz="1200" dirty="0"/>
          </a:p>
        </p:txBody>
      </p:sp>
      <p:sp>
        <p:nvSpPr>
          <p:cNvPr id="57" name="Pentagon 56">
            <a:extLst>
              <a:ext uri="{FF2B5EF4-FFF2-40B4-BE49-F238E27FC236}">
                <a16:creationId xmlns:a16="http://schemas.microsoft.com/office/drawing/2014/main" xmlns="" id="{75E8AA89-0D9A-1242-BDDB-BD06F0BCBD2B}"/>
              </a:ext>
            </a:extLst>
          </p:cNvPr>
          <p:cNvSpPr/>
          <p:nvPr/>
        </p:nvSpPr>
        <p:spPr>
          <a:xfrm flipH="1">
            <a:off x="7502742" y="3750023"/>
            <a:ext cx="1454981" cy="356400"/>
          </a:xfrm>
          <a:prstGeom prst="homePlate">
            <a:avLst>
              <a:gd name="adj" fmla="val 20455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sz="1200" dirty="0"/>
              <a:t>مهن صغرى</a:t>
            </a:r>
            <a:endParaRPr lang="x-none" sz="1200" dirty="0"/>
          </a:p>
        </p:txBody>
      </p:sp>
      <p:sp>
        <p:nvSpPr>
          <p:cNvPr id="58" name="Pentagon 57">
            <a:extLst>
              <a:ext uri="{FF2B5EF4-FFF2-40B4-BE49-F238E27FC236}">
                <a16:creationId xmlns:a16="http://schemas.microsoft.com/office/drawing/2014/main" xmlns="" id="{900139A3-1B75-FB4B-8598-09E6CDECC137}"/>
              </a:ext>
            </a:extLst>
          </p:cNvPr>
          <p:cNvSpPr/>
          <p:nvPr/>
        </p:nvSpPr>
        <p:spPr>
          <a:xfrm flipH="1">
            <a:off x="7511854" y="4191500"/>
            <a:ext cx="1454981" cy="445776"/>
          </a:xfrm>
          <a:prstGeom prst="homePlate">
            <a:avLst>
              <a:gd name="adj" fmla="val 20455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sz="1200" dirty="0"/>
              <a:t>تجارة</a:t>
            </a:r>
            <a:endParaRPr lang="x-none" sz="1200" dirty="0"/>
          </a:p>
        </p:txBody>
      </p:sp>
      <p:sp>
        <p:nvSpPr>
          <p:cNvPr id="59" name="Pentagon 58">
            <a:extLst>
              <a:ext uri="{FF2B5EF4-FFF2-40B4-BE49-F238E27FC236}">
                <a16:creationId xmlns:a16="http://schemas.microsoft.com/office/drawing/2014/main" xmlns="" id="{D2919D52-E9C5-9440-B599-F483259F9BA0}"/>
              </a:ext>
            </a:extLst>
          </p:cNvPr>
          <p:cNvSpPr/>
          <p:nvPr/>
        </p:nvSpPr>
        <p:spPr>
          <a:xfrm flipH="1">
            <a:off x="7502743" y="4717007"/>
            <a:ext cx="1454981" cy="350007"/>
          </a:xfrm>
          <a:prstGeom prst="homePlate">
            <a:avLst>
              <a:gd name="adj" fmla="val 20455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sz="1200" dirty="0"/>
              <a:t>التربية و التعليم </a:t>
            </a:r>
            <a:endParaRPr lang="x-none" sz="1200" dirty="0"/>
          </a:p>
        </p:txBody>
      </p:sp>
      <p:sp>
        <p:nvSpPr>
          <p:cNvPr id="52" name="Pentagon 54">
            <a:extLst>
              <a:ext uri="{FF2B5EF4-FFF2-40B4-BE49-F238E27FC236}">
                <a16:creationId xmlns:a16="http://schemas.microsoft.com/office/drawing/2014/main" xmlns="" id="{9A6CE3D4-02AA-2746-8BDB-B9303E10AE8D}"/>
              </a:ext>
            </a:extLst>
          </p:cNvPr>
          <p:cNvSpPr/>
          <p:nvPr/>
        </p:nvSpPr>
        <p:spPr>
          <a:xfrm flipH="1">
            <a:off x="7502744" y="1468937"/>
            <a:ext cx="1454981" cy="356400"/>
          </a:xfrm>
          <a:prstGeom prst="homePlate">
            <a:avLst>
              <a:gd name="adj" fmla="val 20455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sz="1200" dirty="0"/>
              <a:t>الإدارة </a:t>
            </a:r>
            <a:endParaRPr lang="x-none" sz="1200" dirty="0"/>
          </a:p>
        </p:txBody>
      </p:sp>
      <p:sp>
        <p:nvSpPr>
          <p:cNvPr id="54" name="Pie 10">
            <a:extLst>
              <a:ext uri="{FF2B5EF4-FFF2-40B4-BE49-F238E27FC236}">
                <a16:creationId xmlns:a16="http://schemas.microsoft.com/office/drawing/2014/main" xmlns="" id="{66DEEC7F-C56F-FE46-B354-97455C6BF540}"/>
              </a:ext>
            </a:extLst>
          </p:cNvPr>
          <p:cNvSpPr>
            <a:spLocks noChangeAspect="1"/>
          </p:cNvSpPr>
          <p:nvPr/>
        </p:nvSpPr>
        <p:spPr>
          <a:xfrm>
            <a:off x="5625553" y="1498112"/>
            <a:ext cx="324000" cy="324000"/>
          </a:xfrm>
          <a:prstGeom prst="pie">
            <a:avLst>
              <a:gd name="adj1" fmla="val 5168987"/>
              <a:gd name="adj2" fmla="val 162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61" name="Pie 32">
            <a:extLst>
              <a:ext uri="{FF2B5EF4-FFF2-40B4-BE49-F238E27FC236}">
                <a16:creationId xmlns:a16="http://schemas.microsoft.com/office/drawing/2014/main" xmlns="" id="{9545713F-D132-C849-B9FA-1D3CE77F9948}"/>
              </a:ext>
            </a:extLst>
          </p:cNvPr>
          <p:cNvSpPr>
            <a:spLocks noChangeAspect="1"/>
          </p:cNvSpPr>
          <p:nvPr/>
        </p:nvSpPr>
        <p:spPr>
          <a:xfrm>
            <a:off x="2417831" y="2126368"/>
            <a:ext cx="505706" cy="505706"/>
          </a:xfrm>
          <a:prstGeom prst="pie">
            <a:avLst>
              <a:gd name="adj1" fmla="val 25816"/>
              <a:gd name="adj2" fmla="val 162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65" name="Pie 33">
            <a:extLst>
              <a:ext uri="{FF2B5EF4-FFF2-40B4-BE49-F238E27FC236}">
                <a16:creationId xmlns:a16="http://schemas.microsoft.com/office/drawing/2014/main" xmlns="" id="{7202C17C-BD69-834A-A72A-CB90666CFDC2}"/>
              </a:ext>
            </a:extLst>
          </p:cNvPr>
          <p:cNvSpPr>
            <a:spLocks noChangeAspect="1"/>
          </p:cNvSpPr>
          <p:nvPr/>
        </p:nvSpPr>
        <p:spPr>
          <a:xfrm>
            <a:off x="851421" y="2131485"/>
            <a:ext cx="504000" cy="504000"/>
          </a:xfrm>
          <a:prstGeom prst="pie">
            <a:avLst>
              <a:gd name="adj1" fmla="val 16370918"/>
              <a:gd name="adj2" fmla="val 162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66" name="TextBox 16">
            <a:extLst>
              <a:ext uri="{FF2B5EF4-FFF2-40B4-BE49-F238E27FC236}">
                <a16:creationId xmlns:a16="http://schemas.microsoft.com/office/drawing/2014/main" xmlns="" id="{03924CC6-A732-EB46-8FDA-8F7C55DD46E8}"/>
              </a:ext>
            </a:extLst>
          </p:cNvPr>
          <p:cNvSpPr txBox="1"/>
          <p:nvPr/>
        </p:nvSpPr>
        <p:spPr>
          <a:xfrm>
            <a:off x="5977641" y="1524992"/>
            <a:ext cx="777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200" b="1" dirty="0"/>
              <a:t>50%</a:t>
            </a:r>
          </a:p>
        </p:txBody>
      </p:sp>
      <p:sp>
        <p:nvSpPr>
          <p:cNvPr id="67" name="TextBox 34">
            <a:extLst>
              <a:ext uri="{FF2B5EF4-FFF2-40B4-BE49-F238E27FC236}">
                <a16:creationId xmlns:a16="http://schemas.microsoft.com/office/drawing/2014/main" xmlns="" id="{1765581A-EAEA-394D-B4C7-AFB28BA20044}"/>
              </a:ext>
            </a:extLst>
          </p:cNvPr>
          <p:cNvSpPr txBox="1"/>
          <p:nvPr/>
        </p:nvSpPr>
        <p:spPr>
          <a:xfrm>
            <a:off x="2418826" y="1838037"/>
            <a:ext cx="777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sz="1200" b="1" dirty="0"/>
              <a:t>75%</a:t>
            </a:r>
          </a:p>
        </p:txBody>
      </p:sp>
      <p:sp>
        <p:nvSpPr>
          <p:cNvPr id="70" name="TextBox 35">
            <a:extLst>
              <a:ext uri="{FF2B5EF4-FFF2-40B4-BE49-F238E27FC236}">
                <a16:creationId xmlns:a16="http://schemas.microsoft.com/office/drawing/2014/main" xmlns="" id="{9E57F746-F9F2-8840-BA89-C4380B7D65CA}"/>
              </a:ext>
            </a:extLst>
          </p:cNvPr>
          <p:cNvSpPr txBox="1"/>
          <p:nvPr/>
        </p:nvSpPr>
        <p:spPr>
          <a:xfrm>
            <a:off x="850643" y="1854215"/>
            <a:ext cx="777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200" b="1" dirty="0"/>
              <a:t>100%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3ECB9A46-6513-A744-9F04-ECA353BEA515}"/>
              </a:ext>
            </a:extLst>
          </p:cNvPr>
          <p:cNvSpPr/>
          <p:nvPr/>
        </p:nvSpPr>
        <p:spPr>
          <a:xfrm>
            <a:off x="221754" y="4687350"/>
            <a:ext cx="1620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ar-TN" sz="1200" dirty="0">
                <a:solidFill>
                  <a:schemeClr val="bg2"/>
                </a:solidFill>
              </a:rPr>
              <a:t>التعليم العالي</a:t>
            </a:r>
            <a:endParaRPr lang="x-none" sz="1200" dirty="0">
              <a:solidFill>
                <a:schemeClr val="bg2"/>
              </a:solidFill>
            </a:endParaRPr>
          </a:p>
        </p:txBody>
      </p:sp>
      <p:sp>
        <p:nvSpPr>
          <p:cNvPr id="90" name="Pie 10">
            <a:extLst>
              <a:ext uri="{FF2B5EF4-FFF2-40B4-BE49-F238E27FC236}">
                <a16:creationId xmlns:a16="http://schemas.microsoft.com/office/drawing/2014/main" xmlns="" id="{66DEEC7F-C56F-FE46-B354-97455C6BF540}"/>
              </a:ext>
            </a:extLst>
          </p:cNvPr>
          <p:cNvSpPr>
            <a:spLocks noChangeAspect="1"/>
          </p:cNvSpPr>
          <p:nvPr/>
        </p:nvSpPr>
        <p:spPr>
          <a:xfrm>
            <a:off x="5625553" y="1908279"/>
            <a:ext cx="324000" cy="324000"/>
          </a:xfrm>
          <a:prstGeom prst="pie">
            <a:avLst>
              <a:gd name="adj1" fmla="val 5168987"/>
              <a:gd name="adj2" fmla="val 162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95" name="TextBox 16">
            <a:extLst>
              <a:ext uri="{FF2B5EF4-FFF2-40B4-BE49-F238E27FC236}">
                <a16:creationId xmlns:a16="http://schemas.microsoft.com/office/drawing/2014/main" xmlns="" id="{03924CC6-A732-EB46-8FDA-8F7C55DD46E8}"/>
              </a:ext>
            </a:extLst>
          </p:cNvPr>
          <p:cNvSpPr txBox="1"/>
          <p:nvPr/>
        </p:nvSpPr>
        <p:spPr>
          <a:xfrm>
            <a:off x="5977641" y="1925338"/>
            <a:ext cx="777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200" b="1" dirty="0"/>
              <a:t>50%</a:t>
            </a:r>
          </a:p>
        </p:txBody>
      </p:sp>
      <p:sp>
        <p:nvSpPr>
          <p:cNvPr id="98" name="Pie 10">
            <a:extLst>
              <a:ext uri="{FF2B5EF4-FFF2-40B4-BE49-F238E27FC236}">
                <a16:creationId xmlns:a16="http://schemas.microsoft.com/office/drawing/2014/main" xmlns="" id="{66DEEC7F-C56F-FE46-B354-97455C6BF540}"/>
              </a:ext>
            </a:extLst>
          </p:cNvPr>
          <p:cNvSpPr>
            <a:spLocks noChangeAspect="1"/>
          </p:cNvSpPr>
          <p:nvPr/>
        </p:nvSpPr>
        <p:spPr>
          <a:xfrm>
            <a:off x="5625553" y="2336895"/>
            <a:ext cx="324000" cy="324000"/>
          </a:xfrm>
          <a:prstGeom prst="pie">
            <a:avLst>
              <a:gd name="adj1" fmla="val 5168987"/>
              <a:gd name="adj2" fmla="val 162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101" name="TextBox 16">
            <a:extLst>
              <a:ext uri="{FF2B5EF4-FFF2-40B4-BE49-F238E27FC236}">
                <a16:creationId xmlns:a16="http://schemas.microsoft.com/office/drawing/2014/main" xmlns="" id="{03924CC6-A732-EB46-8FDA-8F7C55DD46E8}"/>
              </a:ext>
            </a:extLst>
          </p:cNvPr>
          <p:cNvSpPr txBox="1"/>
          <p:nvPr/>
        </p:nvSpPr>
        <p:spPr>
          <a:xfrm>
            <a:off x="5977641" y="2362911"/>
            <a:ext cx="11599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200" b="1" dirty="0"/>
              <a:t>50%</a:t>
            </a:r>
          </a:p>
        </p:txBody>
      </p:sp>
      <p:sp>
        <p:nvSpPr>
          <p:cNvPr id="104" name="Pie 10">
            <a:extLst>
              <a:ext uri="{FF2B5EF4-FFF2-40B4-BE49-F238E27FC236}">
                <a16:creationId xmlns:a16="http://schemas.microsoft.com/office/drawing/2014/main" xmlns="" id="{66DEEC7F-C56F-FE46-B354-97455C6BF540}"/>
              </a:ext>
            </a:extLst>
          </p:cNvPr>
          <p:cNvSpPr>
            <a:spLocks noChangeAspect="1"/>
          </p:cNvSpPr>
          <p:nvPr/>
        </p:nvSpPr>
        <p:spPr>
          <a:xfrm>
            <a:off x="5625553" y="3189290"/>
            <a:ext cx="324000" cy="324000"/>
          </a:xfrm>
          <a:prstGeom prst="pie">
            <a:avLst>
              <a:gd name="adj1" fmla="val 5168987"/>
              <a:gd name="adj2" fmla="val 162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107" name="TextBox 16">
            <a:extLst>
              <a:ext uri="{FF2B5EF4-FFF2-40B4-BE49-F238E27FC236}">
                <a16:creationId xmlns:a16="http://schemas.microsoft.com/office/drawing/2014/main" xmlns="" id="{03924CC6-A732-EB46-8FDA-8F7C55DD46E8}"/>
              </a:ext>
            </a:extLst>
          </p:cNvPr>
          <p:cNvSpPr txBox="1"/>
          <p:nvPr/>
        </p:nvSpPr>
        <p:spPr>
          <a:xfrm>
            <a:off x="5977641" y="3206349"/>
            <a:ext cx="777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200" b="1" dirty="0"/>
              <a:t>50%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xmlns="" id="{97C419FC-A765-F94B-90E6-8356FDF0D8C4}"/>
              </a:ext>
            </a:extLst>
          </p:cNvPr>
          <p:cNvSpPr/>
          <p:nvPr/>
        </p:nvSpPr>
        <p:spPr>
          <a:xfrm>
            <a:off x="3914840" y="4157445"/>
            <a:ext cx="3391116" cy="54264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ar-TN" sz="1200" dirty="0">
                <a:solidFill>
                  <a:schemeClr val="bg2"/>
                </a:solidFill>
              </a:rPr>
              <a:t>كل الأنشطة ما عدى تجارة الملابس و الأحذية والمغازات الكبرى انطلاقا من 11 ماي </a:t>
            </a:r>
            <a:endParaRPr lang="x-none" sz="1200" dirty="0">
              <a:solidFill>
                <a:schemeClr val="bg2"/>
              </a:solidFill>
            </a:endParaRPr>
          </a:p>
        </p:txBody>
      </p:sp>
      <p:sp>
        <p:nvSpPr>
          <p:cNvPr id="78" name="TextBox 59">
            <a:extLst>
              <a:ext uri="{FF2B5EF4-FFF2-40B4-BE49-F238E27FC236}">
                <a16:creationId xmlns:a16="http://schemas.microsoft.com/office/drawing/2014/main" xmlns="" id="{ABE43678-1408-6341-B06E-9512D366EFA5}"/>
              </a:ext>
            </a:extLst>
          </p:cNvPr>
          <p:cNvSpPr txBox="1"/>
          <p:nvPr/>
        </p:nvSpPr>
        <p:spPr>
          <a:xfrm>
            <a:off x="251249" y="2989680"/>
            <a:ext cx="3421035" cy="73866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1200">
                <a:solidFill>
                  <a:schemeClr val="bg2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 </a:t>
            </a:r>
            <a:r>
              <a:rPr lang="ar-TN" dirty="0"/>
              <a:t>تدريجيا المساجد ودور العبادة</a:t>
            </a:r>
            <a:r>
              <a:rPr lang="fr-FR" dirty="0"/>
              <a:t>/</a:t>
            </a:r>
            <a:r>
              <a:rPr lang="ar-TN" dirty="0"/>
              <a:t> الانشطة الثقافية </a:t>
            </a:r>
            <a:r>
              <a:rPr lang="fr-FR" dirty="0"/>
              <a:t>/ </a:t>
            </a:r>
            <a:r>
              <a:rPr lang="fr-FR" b="1" dirty="0"/>
              <a:t>:</a:t>
            </a:r>
            <a:r>
              <a:rPr lang="ar-TN" b="1" dirty="0"/>
              <a:t> تدريجيا </a:t>
            </a:r>
            <a:r>
              <a:rPr lang="fr-FR" dirty="0"/>
              <a:t>:</a:t>
            </a:r>
            <a:r>
              <a:rPr lang="ar-TN" dirty="0"/>
              <a:t>الأنشطة الرياضية  والترفيه</a:t>
            </a:r>
            <a:r>
              <a:rPr lang="fr-FR" dirty="0"/>
              <a:t>/</a:t>
            </a:r>
            <a:r>
              <a:rPr lang="ar-TN" dirty="0"/>
              <a:t> المطاعم والمقاهي</a:t>
            </a:r>
            <a:r>
              <a:rPr lang="fr-FR" dirty="0"/>
              <a:t>/</a:t>
            </a:r>
            <a:r>
              <a:rPr lang="ar-TN" dirty="0"/>
              <a:t> السياحة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xmlns="" id="{3ECB9A46-6513-A744-9F04-ECA353BEA515}"/>
              </a:ext>
            </a:extLst>
          </p:cNvPr>
          <p:cNvSpPr/>
          <p:nvPr/>
        </p:nvSpPr>
        <p:spPr>
          <a:xfrm>
            <a:off x="232046" y="3837278"/>
            <a:ext cx="1620000" cy="5779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ar-TN" sz="1200" dirty="0">
                <a:solidFill>
                  <a:schemeClr val="bg2"/>
                </a:solidFill>
              </a:rPr>
              <a:t>محاضن ورياض الأطفال </a:t>
            </a:r>
            <a:endParaRPr lang="fr-FR" sz="1200" dirty="0">
              <a:solidFill>
                <a:schemeClr val="bg2"/>
              </a:solidFill>
            </a:endParaRPr>
          </a:p>
        </p:txBody>
      </p:sp>
      <p:sp>
        <p:nvSpPr>
          <p:cNvPr id="81" name="TextBox 70">
            <a:extLst>
              <a:ext uri="{FF2B5EF4-FFF2-40B4-BE49-F238E27FC236}">
                <a16:creationId xmlns:a16="http://schemas.microsoft.com/office/drawing/2014/main" xmlns="" id="{0B76CB91-8249-744B-B44B-E52ECEFE4A75}"/>
              </a:ext>
            </a:extLst>
          </p:cNvPr>
          <p:cNvSpPr txBox="1"/>
          <p:nvPr/>
        </p:nvSpPr>
        <p:spPr>
          <a:xfrm>
            <a:off x="3838492" y="1509447"/>
            <a:ext cx="15929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TN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العدالة بجميع مكوناتها</a:t>
            </a:r>
            <a:endParaRPr lang="x-none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3" name="Pie 33">
            <a:extLst>
              <a:ext uri="{FF2B5EF4-FFF2-40B4-BE49-F238E27FC236}">
                <a16:creationId xmlns:a16="http://schemas.microsoft.com/office/drawing/2014/main" xmlns="" id="{7202C17C-BD69-834A-A72A-CB90666CFDC2}"/>
              </a:ext>
            </a:extLst>
          </p:cNvPr>
          <p:cNvSpPr>
            <a:spLocks noChangeAspect="1"/>
          </p:cNvSpPr>
          <p:nvPr/>
        </p:nvSpPr>
        <p:spPr>
          <a:xfrm>
            <a:off x="5625553" y="2766096"/>
            <a:ext cx="324000" cy="324000"/>
          </a:xfrm>
          <a:prstGeom prst="pie">
            <a:avLst>
              <a:gd name="adj1" fmla="val 16370918"/>
              <a:gd name="adj2" fmla="val 162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cxnSp>
        <p:nvCxnSpPr>
          <p:cNvPr id="72" name="Connecteur droit 12">
            <a:extLst>
              <a:ext uri="{FF2B5EF4-FFF2-40B4-BE49-F238E27FC236}">
                <a16:creationId xmlns:a16="http://schemas.microsoft.com/office/drawing/2014/main" xmlns="" id="{6494FD37-FB1C-924D-9837-F3C3E1B838D8}"/>
              </a:ext>
            </a:extLst>
          </p:cNvPr>
          <p:cNvCxnSpPr>
            <a:cxnSpLocks/>
          </p:cNvCxnSpPr>
          <p:nvPr/>
        </p:nvCxnSpPr>
        <p:spPr>
          <a:xfrm>
            <a:off x="3904868" y="3656535"/>
            <a:ext cx="5058060" cy="15564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Pentagon 81">
            <a:extLst>
              <a:ext uri="{FF2B5EF4-FFF2-40B4-BE49-F238E27FC236}">
                <a16:creationId xmlns:a16="http://schemas.microsoft.com/office/drawing/2014/main" xmlns="" id="{1F25F2BE-F9C6-0146-B910-C9510B94007A}"/>
              </a:ext>
            </a:extLst>
          </p:cNvPr>
          <p:cNvSpPr/>
          <p:nvPr/>
        </p:nvSpPr>
        <p:spPr>
          <a:xfrm flipH="1">
            <a:off x="7543902" y="2791895"/>
            <a:ext cx="1454981" cy="356400"/>
          </a:xfrm>
          <a:prstGeom prst="homePlate">
            <a:avLst>
              <a:gd name="adj" fmla="val 20455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sz="1200" b="1" dirty="0"/>
              <a:t>المهن الحرة</a:t>
            </a:r>
            <a:endParaRPr lang="x-none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6D172B06-5347-F146-8ED8-4B27BDB1CC73}"/>
              </a:ext>
            </a:extLst>
          </p:cNvPr>
          <p:cNvSpPr/>
          <p:nvPr/>
        </p:nvSpPr>
        <p:spPr>
          <a:xfrm>
            <a:off x="5977641" y="2788269"/>
            <a:ext cx="5757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b="1" dirty="0"/>
              <a:t>%</a:t>
            </a:r>
            <a:r>
              <a:rPr lang="ar-TN" sz="1200" b="1" dirty="0"/>
              <a:t>100</a:t>
            </a:r>
            <a:endParaRPr lang="x-none" sz="1200" dirty="0"/>
          </a:p>
        </p:txBody>
      </p:sp>
    </p:spTree>
    <p:extLst>
      <p:ext uri="{BB962C8B-B14F-4D97-AF65-F5344CB8AC3E}">
        <p14:creationId xmlns:p14="http://schemas.microsoft.com/office/powerpoint/2010/main" val="32196495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062C181-342D-8543-85C2-6FA24D3EA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78357" y="356349"/>
            <a:ext cx="8832275" cy="623700"/>
          </a:xfr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r"/>
            <a:r>
              <a:rPr lang="ar-TN" b="1" dirty="0"/>
              <a:t>المهن الصغرى المعنية بالمرحلة الأولى </a:t>
            </a:r>
            <a:endParaRPr lang="x-none" b="1" dirty="0"/>
          </a:p>
        </p:txBody>
      </p:sp>
      <p:sp>
        <p:nvSpPr>
          <p:cNvPr id="28" name="Rectangle à coins arrondis 67">
            <a:extLst>
              <a:ext uri="{FF2B5EF4-FFF2-40B4-BE49-F238E27FC236}">
                <a16:creationId xmlns:a16="http://schemas.microsoft.com/office/drawing/2014/main" xmlns="" id="{AD01255E-FBC7-024A-87DC-5D72FDB35B3C}"/>
              </a:ext>
            </a:extLst>
          </p:cNvPr>
          <p:cNvSpPr/>
          <p:nvPr/>
        </p:nvSpPr>
        <p:spPr>
          <a:xfrm>
            <a:off x="4903675" y="2249292"/>
            <a:ext cx="3330367" cy="2554544"/>
          </a:xfrm>
          <a:prstGeom prst="roundRect">
            <a:avLst>
              <a:gd name="adj" fmla="val 4295"/>
            </a:avLst>
          </a:prstGeom>
          <a:noFill/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ZoneTexte 68">
            <a:extLst>
              <a:ext uri="{FF2B5EF4-FFF2-40B4-BE49-F238E27FC236}">
                <a16:creationId xmlns:a16="http://schemas.microsoft.com/office/drawing/2014/main" xmlns="" id="{D49A1540-5889-E346-90A6-B22DBDB34B4F}"/>
              </a:ext>
            </a:extLst>
          </p:cNvPr>
          <p:cNvSpPr txBox="1"/>
          <p:nvPr/>
        </p:nvSpPr>
        <p:spPr>
          <a:xfrm>
            <a:off x="5637944" y="1811921"/>
            <a:ext cx="35979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TN" sz="2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الأنشطة المعنية</a:t>
            </a:r>
            <a:endParaRPr lang="fr-FR" sz="2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77878446-BC7B-3B41-BFDB-B768E6B13744}"/>
              </a:ext>
            </a:extLst>
          </p:cNvPr>
          <p:cNvSpPr/>
          <p:nvPr/>
        </p:nvSpPr>
        <p:spPr>
          <a:xfrm>
            <a:off x="5671507" y="2335141"/>
            <a:ext cx="268036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ar-T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كل الأنشطة ما عدى الحلاقة و التجميل انطلاقا من 11 ماي </a:t>
            </a:r>
            <a:endParaRPr lang="x-none"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BF5EA0F4-60D1-F842-B253-6346896D2616}"/>
              </a:ext>
            </a:extLst>
          </p:cNvPr>
          <p:cNvSpPr/>
          <p:nvPr/>
        </p:nvSpPr>
        <p:spPr>
          <a:xfrm>
            <a:off x="7408597" y="3566247"/>
            <a:ext cx="288578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 algn="r" rtl="1">
              <a:buFont typeface="Wingdings" panose="05000000000000000000" pitchFamily="2" charset="2"/>
              <a:buChar char="§"/>
            </a:pPr>
            <a:endParaRPr lang="fr-FR" sz="1600" dirty="0"/>
          </a:p>
          <a:p>
            <a:pPr marL="214313" indent="-214313" algn="r" rtl="1">
              <a:buFont typeface="Wingdings" panose="05000000000000000000" pitchFamily="2" charset="2"/>
              <a:buChar char="§"/>
            </a:pPr>
            <a:endParaRPr lang="fr-FR" sz="1600" dirty="0"/>
          </a:p>
          <a:p>
            <a:pPr marL="214313" indent="-214313" algn="r" rtl="1">
              <a:buFont typeface="Wingdings" panose="05000000000000000000" pitchFamily="2" charset="2"/>
              <a:buChar char="§"/>
            </a:pPr>
            <a:endParaRPr lang="fr-FR" sz="16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phic 9" descr="Warning">
            <a:extLst>
              <a:ext uri="{FF2B5EF4-FFF2-40B4-BE49-F238E27FC236}">
                <a16:creationId xmlns:a16="http://schemas.microsoft.com/office/drawing/2014/main" xmlns="" id="{44D340DB-D672-D142-87C8-2A6BE1C831E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19947" y="1168932"/>
            <a:ext cx="3748190" cy="374819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595252" y="2249292"/>
            <a:ext cx="3832369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  <a:sym typeface="Roboto"/>
              </a:rPr>
              <a:t>العمل بنظام التناوب</a:t>
            </a:r>
            <a:endParaRPr lang="fr-FR" sz="1800" b="1" dirty="0">
              <a:solidFill>
                <a:schemeClr val="accent1">
                  <a:lumMod val="50000"/>
                </a:schemeClr>
              </a:solidFill>
              <a:sym typeface="Roboto"/>
            </a:endParaRPr>
          </a:p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  <a:sym typeface="Roboto"/>
              </a:rPr>
              <a:t>تصريح على الشرف ( استمارة بمراكز الأمن و البلديات)</a:t>
            </a:r>
          </a:p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الالتزام بدليل السلامة و الوقاية الصحية</a:t>
            </a:r>
          </a:p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تتولى السلط الجهوية و المحلية السهر على تنفيذ الاجراءات</a:t>
            </a:r>
            <a:endParaRPr lang="fr-FR" sz="18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321750" indent="-285750" algn="just" rtl="1"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fr-FR" sz="1800" b="1" dirty="0">
              <a:solidFill>
                <a:schemeClr val="accent1">
                  <a:lumMod val="50000"/>
                </a:schemeClr>
              </a:solidFill>
              <a:sym typeface="Roboto"/>
            </a:endParaRPr>
          </a:p>
          <a:p>
            <a:pPr marL="321750" indent="-285750" algn="just" rtl="1"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fr-FR" sz="18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321750" indent="-285750" algn="just" rtl="1"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7" name="Rectangle à coins arrondis 67">
            <a:extLst>
              <a:ext uri="{FF2B5EF4-FFF2-40B4-BE49-F238E27FC236}">
                <a16:creationId xmlns:a16="http://schemas.microsoft.com/office/drawing/2014/main" xmlns="" id="{AD01255E-FBC7-024A-87DC-5D72FDB35B3C}"/>
              </a:ext>
            </a:extLst>
          </p:cNvPr>
          <p:cNvSpPr/>
          <p:nvPr/>
        </p:nvSpPr>
        <p:spPr>
          <a:xfrm>
            <a:off x="583781" y="2288975"/>
            <a:ext cx="2725280" cy="2554544"/>
          </a:xfrm>
          <a:prstGeom prst="roundRect">
            <a:avLst>
              <a:gd name="adj" fmla="val 4295"/>
            </a:avLst>
          </a:prstGeom>
          <a:noFill/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68">
            <a:extLst>
              <a:ext uri="{FF2B5EF4-FFF2-40B4-BE49-F238E27FC236}">
                <a16:creationId xmlns:a16="http://schemas.microsoft.com/office/drawing/2014/main" xmlns="" id="{D49A1540-5889-E346-90A6-B22DBDB34B4F}"/>
              </a:ext>
            </a:extLst>
          </p:cNvPr>
          <p:cNvSpPr txBox="1"/>
          <p:nvPr/>
        </p:nvSpPr>
        <p:spPr>
          <a:xfrm>
            <a:off x="2054459" y="1811921"/>
            <a:ext cx="22833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2800" b="1" dirty="0">
                <a:solidFill>
                  <a:schemeClr val="accent1"/>
                </a:solidFill>
              </a:rPr>
              <a:t>الشروط</a:t>
            </a:r>
            <a:endParaRPr lang="fr-FR" sz="2800" b="1" dirty="0">
              <a:solidFill>
                <a:schemeClr val="accent1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xmlns="" id="{80DE1665-DD4D-7341-A476-C4EA3BB6845F}"/>
              </a:ext>
            </a:extLst>
          </p:cNvPr>
          <p:cNvSpPr/>
          <p:nvPr/>
        </p:nvSpPr>
        <p:spPr>
          <a:xfrm>
            <a:off x="402827" y="308199"/>
            <a:ext cx="720000" cy="72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1600" b="1" dirty="0"/>
              <a:t>1</a:t>
            </a:r>
          </a:p>
        </p:txBody>
      </p:sp>
      <p:pic>
        <p:nvPicPr>
          <p:cNvPr id="6" name="Graphic 5" descr="Tick">
            <a:extLst>
              <a:ext uri="{FF2B5EF4-FFF2-40B4-BE49-F238E27FC236}">
                <a16:creationId xmlns:a16="http://schemas.microsoft.com/office/drawing/2014/main" xmlns="" id="{21BC5896-E2CE-224A-A959-8009CC0C04A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5178460" y="1241659"/>
            <a:ext cx="3794869" cy="3794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9687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9" descr="Warning">
            <a:extLst>
              <a:ext uri="{FF2B5EF4-FFF2-40B4-BE49-F238E27FC236}">
                <a16:creationId xmlns:a16="http://schemas.microsoft.com/office/drawing/2014/main" xmlns="" id="{44D340DB-D672-D142-87C8-2A6BE1C831E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19947" y="1168932"/>
            <a:ext cx="3748190" cy="3748190"/>
          </a:xfrm>
          <a:prstGeom prst="rect">
            <a:avLst/>
          </a:prstGeom>
        </p:spPr>
      </p:pic>
      <p:pic>
        <p:nvPicPr>
          <p:cNvPr id="16" name="Graphic 5" descr="Tick">
            <a:extLst>
              <a:ext uri="{FF2B5EF4-FFF2-40B4-BE49-F238E27FC236}">
                <a16:creationId xmlns:a16="http://schemas.microsoft.com/office/drawing/2014/main" xmlns="" id="{21BC5896-E2CE-224A-A959-8009CC0C04A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5178460" y="1241659"/>
            <a:ext cx="3794869" cy="37948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0062C181-342D-8543-85C2-6FA24D3EA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77002" y="353061"/>
            <a:ext cx="8832275" cy="623700"/>
          </a:xfr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r"/>
            <a:r>
              <a:rPr lang="ar-TN" b="1" dirty="0"/>
              <a:t>الأنشطة التجارية المعنية بالمرحلة الأولى  </a:t>
            </a:r>
            <a:endParaRPr lang="x-none" b="1" dirty="0"/>
          </a:p>
        </p:txBody>
      </p:sp>
      <p:sp>
        <p:nvSpPr>
          <p:cNvPr id="29" name="ZoneTexte 68">
            <a:extLst>
              <a:ext uri="{FF2B5EF4-FFF2-40B4-BE49-F238E27FC236}">
                <a16:creationId xmlns:a16="http://schemas.microsoft.com/office/drawing/2014/main" xmlns="" id="{D49A1540-5889-E346-90A6-B22DBDB34B4F}"/>
              </a:ext>
            </a:extLst>
          </p:cNvPr>
          <p:cNvSpPr txBox="1"/>
          <p:nvPr/>
        </p:nvSpPr>
        <p:spPr>
          <a:xfrm>
            <a:off x="5546042" y="1743682"/>
            <a:ext cx="35979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ar-TN" dirty="0"/>
              <a:t>الأنشطة المعنية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489821" y="2397488"/>
            <a:ext cx="348427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  <a:sym typeface="Roboto"/>
              </a:rPr>
              <a:t>العمل بنظام التناوب</a:t>
            </a:r>
            <a:endParaRPr lang="fr-FR" sz="1800" b="1" dirty="0">
              <a:solidFill>
                <a:schemeClr val="accent1">
                  <a:lumMod val="50000"/>
                </a:schemeClr>
              </a:solidFill>
              <a:sym typeface="Roboto"/>
            </a:endParaRPr>
          </a:p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  <a:sym typeface="Roboto"/>
              </a:rPr>
              <a:t>تصريح على الشرف ( استمارة بمراكز الأمن و البلديات)</a:t>
            </a:r>
          </a:p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الالتزام بدليل السلامة و الوقاية الصحية</a:t>
            </a:r>
            <a:endParaRPr lang="fr-FR" sz="18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321750" indent="-285750" algn="just" rtl="1"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8" name="ZoneTexte 68">
            <a:extLst>
              <a:ext uri="{FF2B5EF4-FFF2-40B4-BE49-F238E27FC236}">
                <a16:creationId xmlns:a16="http://schemas.microsoft.com/office/drawing/2014/main" xmlns="" id="{D49A1540-5889-E346-90A6-B22DBDB34B4F}"/>
              </a:ext>
            </a:extLst>
          </p:cNvPr>
          <p:cNvSpPr txBox="1"/>
          <p:nvPr/>
        </p:nvSpPr>
        <p:spPr>
          <a:xfrm>
            <a:off x="1567185" y="1751535"/>
            <a:ext cx="22833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2800" b="1" dirty="0">
                <a:solidFill>
                  <a:schemeClr val="accent1"/>
                </a:solidFill>
              </a:rPr>
              <a:t>الشروط</a:t>
            </a:r>
            <a:endParaRPr lang="fr-FR" sz="2800" b="1" dirty="0">
              <a:solidFill>
                <a:schemeClr val="accent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8B943663-A430-5F4B-A289-1358E4A3FFBA}"/>
              </a:ext>
            </a:extLst>
          </p:cNvPr>
          <p:cNvSpPr/>
          <p:nvPr/>
        </p:nvSpPr>
        <p:spPr>
          <a:xfrm>
            <a:off x="4854259" y="2275552"/>
            <a:ext cx="3470637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T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كل الأنشطة ما عدى</a:t>
            </a:r>
            <a:endParaRPr lang="fr-FR"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r" rtl="1">
              <a:buFont typeface="Wingdings" charset="2"/>
              <a:buChar char="§"/>
            </a:pPr>
            <a:r>
              <a:rPr lang="ar-TN" sz="2000" dirty="0"/>
              <a:t> </a:t>
            </a:r>
            <a:r>
              <a:rPr lang="ar-T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تجارة الملابس و الأحذية والمساحات التجارية الكبرى انطلاقا من</a:t>
            </a:r>
            <a:r>
              <a:rPr lang="ar-TN" sz="2000" dirty="0"/>
              <a:t> </a:t>
            </a:r>
            <a:r>
              <a:rPr lang="ar-T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1 ماي</a:t>
            </a:r>
            <a:endParaRPr lang="fr-FR"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 algn="r" rtl="1">
              <a:buFont typeface="Wingdings" charset="2"/>
              <a:buChar char="§"/>
            </a:pPr>
            <a:r>
              <a:rPr lang="ar-T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الأسواق الاسبوعية و اسواق الدواب و المراكز التجارية  انطلاقا من المرحلة الثانية</a:t>
            </a:r>
            <a:endParaRPr lang="fr-FR"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endParaRPr lang="x-none" sz="160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80DE1665-DD4D-7341-A476-C4EA3BB6845F}"/>
              </a:ext>
            </a:extLst>
          </p:cNvPr>
          <p:cNvSpPr/>
          <p:nvPr/>
        </p:nvSpPr>
        <p:spPr>
          <a:xfrm>
            <a:off x="387587" y="308637"/>
            <a:ext cx="720000" cy="72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0127456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9" descr="Warning">
            <a:extLst>
              <a:ext uri="{FF2B5EF4-FFF2-40B4-BE49-F238E27FC236}">
                <a16:creationId xmlns:a16="http://schemas.microsoft.com/office/drawing/2014/main" xmlns="" id="{44D340DB-D672-D142-87C8-2A6BE1C831E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19947" y="1168932"/>
            <a:ext cx="3748190" cy="3748190"/>
          </a:xfrm>
          <a:prstGeom prst="rect">
            <a:avLst/>
          </a:prstGeom>
        </p:spPr>
      </p:pic>
      <p:pic>
        <p:nvPicPr>
          <p:cNvPr id="16" name="Graphic 5" descr="Tick">
            <a:extLst>
              <a:ext uri="{FF2B5EF4-FFF2-40B4-BE49-F238E27FC236}">
                <a16:creationId xmlns:a16="http://schemas.microsoft.com/office/drawing/2014/main" xmlns="" id="{21BC5896-E2CE-224A-A959-8009CC0C04A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5178460" y="1241659"/>
            <a:ext cx="3794869" cy="37948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0062C181-342D-8543-85C2-6FA24D3EA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99890" y="253369"/>
            <a:ext cx="8832275" cy="623700"/>
          </a:xfr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r"/>
            <a:r>
              <a:rPr lang="ar-TN" b="1" dirty="0"/>
              <a:t>الخدمات و المهن الحرة</a:t>
            </a:r>
            <a:endParaRPr lang="x-none" b="1" dirty="0"/>
          </a:p>
        </p:txBody>
      </p:sp>
      <p:sp>
        <p:nvSpPr>
          <p:cNvPr id="29" name="ZoneTexte 68">
            <a:extLst>
              <a:ext uri="{FF2B5EF4-FFF2-40B4-BE49-F238E27FC236}">
                <a16:creationId xmlns:a16="http://schemas.microsoft.com/office/drawing/2014/main" xmlns="" id="{D49A1540-5889-E346-90A6-B22DBDB34B4F}"/>
              </a:ext>
            </a:extLst>
          </p:cNvPr>
          <p:cNvSpPr txBox="1"/>
          <p:nvPr/>
        </p:nvSpPr>
        <p:spPr>
          <a:xfrm>
            <a:off x="5039261" y="1429028"/>
            <a:ext cx="35979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algn="ctr"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ar-TN" dirty="0"/>
              <a:t>الأنشطة المعنية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961802" y="1952247"/>
            <a:ext cx="335160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استحالة العمل عن بعد</a:t>
            </a:r>
          </a:p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50 ٪  من الطاقة التشغيلية القصوى</a:t>
            </a:r>
            <a:r>
              <a:rPr lang="fr-FR" sz="1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بالنسبة للخدمات أكثر من 10 موظفين </a:t>
            </a:r>
          </a:p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100</a:t>
            </a:r>
            <a:r>
              <a:rPr lang="fr-FR" sz="1800" b="1" dirty="0">
                <a:solidFill>
                  <a:schemeClr val="accent1">
                    <a:lumMod val="50000"/>
                  </a:schemeClr>
                </a:solidFill>
              </a:rPr>
              <a:t>%</a:t>
            </a: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 بالنسبة للخدمات أقل من 10 عملة والمهن الحرة</a:t>
            </a:r>
          </a:p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الالتزام بدليل السلامة والوقاية الصحية</a:t>
            </a:r>
          </a:p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fr-FR" sz="18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8" name="ZoneTexte 68">
            <a:extLst>
              <a:ext uri="{FF2B5EF4-FFF2-40B4-BE49-F238E27FC236}">
                <a16:creationId xmlns:a16="http://schemas.microsoft.com/office/drawing/2014/main" xmlns="" id="{D49A1540-5889-E346-90A6-B22DBDB34B4F}"/>
              </a:ext>
            </a:extLst>
          </p:cNvPr>
          <p:cNvSpPr txBox="1"/>
          <p:nvPr/>
        </p:nvSpPr>
        <p:spPr>
          <a:xfrm>
            <a:off x="2032926" y="1429028"/>
            <a:ext cx="22833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2800" b="1" dirty="0">
                <a:solidFill>
                  <a:schemeClr val="accent1"/>
                </a:solidFill>
              </a:rPr>
              <a:t>الشروط</a:t>
            </a:r>
            <a:endParaRPr lang="fr-FR" sz="2800" b="1" dirty="0">
              <a:solidFill>
                <a:schemeClr val="accent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8B943663-A430-5F4B-A289-1358E4A3FFBA}"/>
              </a:ext>
            </a:extLst>
          </p:cNvPr>
          <p:cNvSpPr/>
          <p:nvPr/>
        </p:nvSpPr>
        <p:spPr>
          <a:xfrm>
            <a:off x="5265442" y="1952248"/>
            <a:ext cx="264592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2414" indent="-214313" algn="r" rtl="1">
              <a:buFont typeface="Wingdings" panose="05000000000000000000" pitchFamily="2" charset="2"/>
              <a:buChar char="§"/>
            </a:pPr>
            <a:r>
              <a:rPr lang="ar-T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الخدمات المالية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ar-TN"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62414" indent="-214313" algn="r" rtl="1">
              <a:buFont typeface="Wingdings" panose="05000000000000000000" pitchFamily="2" charset="2"/>
              <a:buChar char="§"/>
            </a:pPr>
            <a:r>
              <a:rPr lang="ar-T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الخدمات للمؤسسات</a:t>
            </a:r>
          </a:p>
          <a:p>
            <a:pPr marL="262414" indent="-214313" algn="r" rtl="1">
              <a:buFont typeface="Wingdings" panose="05000000000000000000" pitchFamily="2" charset="2"/>
              <a:buChar char="§"/>
            </a:pPr>
            <a:r>
              <a:rPr lang="ar-T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المهن الحرة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80DE1665-DD4D-7341-A476-C4EA3BB6845F}"/>
              </a:ext>
            </a:extLst>
          </p:cNvPr>
          <p:cNvSpPr/>
          <p:nvPr/>
        </p:nvSpPr>
        <p:spPr>
          <a:xfrm>
            <a:off x="381171" y="205219"/>
            <a:ext cx="720000" cy="72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6035071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5" descr="Tick">
            <a:extLst>
              <a:ext uri="{FF2B5EF4-FFF2-40B4-BE49-F238E27FC236}">
                <a16:creationId xmlns:a16="http://schemas.microsoft.com/office/drawing/2014/main" xmlns="" id="{21BC5896-E2CE-224A-A959-8009CC0C04A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236212" y="1073440"/>
            <a:ext cx="3794869" cy="3794869"/>
          </a:xfrm>
          <a:prstGeom prst="rect">
            <a:avLst/>
          </a:prstGeom>
        </p:spPr>
      </p:pic>
      <p:pic>
        <p:nvPicPr>
          <p:cNvPr id="16" name="Graphic 9" descr="Warning">
            <a:extLst>
              <a:ext uri="{FF2B5EF4-FFF2-40B4-BE49-F238E27FC236}">
                <a16:creationId xmlns:a16="http://schemas.microsoft.com/office/drawing/2014/main" xmlns="" id="{44D340DB-D672-D142-87C8-2A6BE1C831E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277699" y="1000713"/>
            <a:ext cx="3748190" cy="37481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0062C181-342D-8543-85C2-6FA24D3EA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02130" y="280713"/>
            <a:ext cx="8832275" cy="623700"/>
          </a:xfr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r"/>
            <a:r>
              <a:rPr lang="ar-TN" b="1" dirty="0"/>
              <a:t>القطاع الصناعي</a:t>
            </a:r>
            <a:endParaRPr lang="x-none" b="1" dirty="0"/>
          </a:p>
        </p:txBody>
      </p:sp>
      <p:sp>
        <p:nvSpPr>
          <p:cNvPr id="29" name="ZoneTexte 68">
            <a:extLst>
              <a:ext uri="{FF2B5EF4-FFF2-40B4-BE49-F238E27FC236}">
                <a16:creationId xmlns:a16="http://schemas.microsoft.com/office/drawing/2014/main" xmlns="" id="{D49A1540-5889-E346-90A6-B22DBDB34B4F}"/>
              </a:ext>
            </a:extLst>
          </p:cNvPr>
          <p:cNvSpPr txBox="1"/>
          <p:nvPr/>
        </p:nvSpPr>
        <p:spPr>
          <a:xfrm>
            <a:off x="5334667" y="1596012"/>
            <a:ext cx="35979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algn="ctr"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ar-TN" dirty="0"/>
              <a:t>الأنشطة المعنية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677397" y="2019983"/>
            <a:ext cx="3509760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توفير النقل الذاتي للموظفين و العملة</a:t>
            </a:r>
          </a:p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50 ٪  من الطاقة التشغيلية القصوى</a:t>
            </a:r>
          </a:p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الالتزام بدليل السلامة والوقاية الصحية</a:t>
            </a:r>
          </a:p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تتولى السلط الجهوية والمحلية السهر على تنفيذ الاجراءات</a:t>
            </a:r>
            <a:endParaRPr lang="fr-FR" sz="18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fr-FR" sz="18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8" name="ZoneTexte 68">
            <a:extLst>
              <a:ext uri="{FF2B5EF4-FFF2-40B4-BE49-F238E27FC236}">
                <a16:creationId xmlns:a16="http://schemas.microsoft.com/office/drawing/2014/main" xmlns="" id="{D49A1540-5889-E346-90A6-B22DBDB34B4F}"/>
              </a:ext>
            </a:extLst>
          </p:cNvPr>
          <p:cNvSpPr txBox="1"/>
          <p:nvPr/>
        </p:nvSpPr>
        <p:spPr>
          <a:xfrm>
            <a:off x="1742567" y="1445970"/>
            <a:ext cx="22833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2800" b="1" dirty="0">
                <a:solidFill>
                  <a:schemeClr val="accent1"/>
                </a:solidFill>
              </a:rPr>
              <a:t>الشروط</a:t>
            </a:r>
            <a:endParaRPr lang="fr-FR" sz="2800" b="1" dirty="0">
              <a:solidFill>
                <a:schemeClr val="accent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8B943663-A430-5F4B-A289-1358E4A3FFBA}"/>
              </a:ext>
            </a:extLst>
          </p:cNvPr>
          <p:cNvSpPr/>
          <p:nvPr/>
        </p:nvSpPr>
        <p:spPr>
          <a:xfrm>
            <a:off x="5539318" y="2119232"/>
            <a:ext cx="26459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2414" indent="-214313" algn="r" rtl="1">
              <a:buFont typeface="Wingdings" panose="05000000000000000000" pitchFamily="2" charset="2"/>
              <a:buChar char="§"/>
            </a:pPr>
            <a:r>
              <a:rPr lang="ar-T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جميع الشركات الصناعية 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80DE1665-DD4D-7341-A476-C4EA3BB6845F}"/>
              </a:ext>
            </a:extLst>
          </p:cNvPr>
          <p:cNvSpPr/>
          <p:nvPr/>
        </p:nvSpPr>
        <p:spPr>
          <a:xfrm>
            <a:off x="375465" y="228327"/>
            <a:ext cx="720000" cy="72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7549157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Graphic 5" descr="Tick">
            <a:extLst>
              <a:ext uri="{FF2B5EF4-FFF2-40B4-BE49-F238E27FC236}">
                <a16:creationId xmlns:a16="http://schemas.microsoft.com/office/drawing/2014/main" xmlns="" id="{21BC5896-E2CE-224A-A959-8009CC0C04A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121177" y="1265945"/>
            <a:ext cx="3794869" cy="3794869"/>
          </a:xfrm>
          <a:prstGeom prst="rect">
            <a:avLst/>
          </a:prstGeom>
        </p:spPr>
      </p:pic>
      <p:pic>
        <p:nvPicPr>
          <p:cNvPr id="30" name="Graphic 9" descr="Warning">
            <a:extLst>
              <a:ext uri="{FF2B5EF4-FFF2-40B4-BE49-F238E27FC236}">
                <a16:creationId xmlns:a16="http://schemas.microsoft.com/office/drawing/2014/main" xmlns="" id="{44D340DB-D672-D142-87C8-2A6BE1C831E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62664" y="1193218"/>
            <a:ext cx="3748190" cy="37481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0062C181-342D-8543-85C2-6FA24D3EA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2475" y="276477"/>
            <a:ext cx="8832275" cy="623700"/>
          </a:xfr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ar-TN" b="1" dirty="0"/>
              <a:t>الأشغال العامة و البناء </a:t>
            </a:r>
            <a:endParaRPr lang="x-none" b="1" dirty="0"/>
          </a:p>
        </p:txBody>
      </p:sp>
      <p:sp>
        <p:nvSpPr>
          <p:cNvPr id="29" name="ZoneTexte 68">
            <a:extLst>
              <a:ext uri="{FF2B5EF4-FFF2-40B4-BE49-F238E27FC236}">
                <a16:creationId xmlns:a16="http://schemas.microsoft.com/office/drawing/2014/main" xmlns="" id="{D49A1540-5889-E346-90A6-B22DBDB34B4F}"/>
              </a:ext>
            </a:extLst>
          </p:cNvPr>
          <p:cNvSpPr txBox="1"/>
          <p:nvPr/>
        </p:nvSpPr>
        <p:spPr>
          <a:xfrm>
            <a:off x="5546042" y="1657665"/>
            <a:ext cx="35979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algn="ctr"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ar-TN" dirty="0"/>
              <a:t>الأنشطة المعنية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1203158" y="2090532"/>
            <a:ext cx="3692204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1750" indent="-285750" algn="just" rtl="1"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توفير النقل الذاتي للعملة بالنسبة للأشغال العامة والشركات</a:t>
            </a:r>
          </a:p>
          <a:p>
            <a:pPr marL="321750" indent="-285750" algn="just" rtl="1"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50 ٪  من الطاقة التشغيلية القصوى</a:t>
            </a:r>
          </a:p>
          <a:p>
            <a:pPr marL="321750" indent="-285750" algn="just" rtl="1"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  <a:sym typeface="Roboto"/>
              </a:rPr>
              <a:t>تصريح على الشرف (استمارة بمراكز الأمن والبلديات) بالنسبة لعمال الحضائر</a:t>
            </a:r>
          </a:p>
          <a:p>
            <a:pPr marL="321750" indent="-285750" algn="just" rtl="1"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الالتزام بدليل السلامة والوقاية الصحية</a:t>
            </a:r>
          </a:p>
          <a:p>
            <a:pPr marL="321750" indent="-285750" algn="just" rtl="1"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تتولى السلط الجهوية والمحلية السهر على تنفيذ الاجراءات</a:t>
            </a:r>
            <a:endParaRPr lang="fr-FR" sz="18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321750" indent="-285750" algn="just" rtl="1"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8" name="ZoneTexte 68">
            <a:extLst>
              <a:ext uri="{FF2B5EF4-FFF2-40B4-BE49-F238E27FC236}">
                <a16:creationId xmlns:a16="http://schemas.microsoft.com/office/drawing/2014/main" xmlns="" id="{D49A1540-5889-E346-90A6-B22DBDB34B4F}"/>
              </a:ext>
            </a:extLst>
          </p:cNvPr>
          <p:cNvSpPr txBox="1"/>
          <p:nvPr/>
        </p:nvSpPr>
        <p:spPr>
          <a:xfrm>
            <a:off x="2612040" y="1567312"/>
            <a:ext cx="22833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2800" b="1" dirty="0">
                <a:solidFill>
                  <a:schemeClr val="accent1"/>
                </a:solidFill>
              </a:rPr>
              <a:t>الشروط</a:t>
            </a:r>
            <a:endParaRPr lang="fr-FR" sz="2800" b="1" dirty="0">
              <a:solidFill>
                <a:schemeClr val="accent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8B943663-A430-5F4B-A289-1358E4A3FFBA}"/>
              </a:ext>
            </a:extLst>
          </p:cNvPr>
          <p:cNvSpPr/>
          <p:nvPr/>
        </p:nvSpPr>
        <p:spPr>
          <a:xfrm>
            <a:off x="5695649" y="2192710"/>
            <a:ext cx="264592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2414" indent="-214313" algn="r" rt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ar-T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الأشغال العامة</a:t>
            </a:r>
          </a:p>
          <a:p>
            <a:pPr marL="262414" indent="-214313" algn="r" rt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ar-T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شركات البناء و الحضائر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80DE1665-DD4D-7341-A476-C4EA3BB6845F}"/>
              </a:ext>
            </a:extLst>
          </p:cNvPr>
          <p:cNvSpPr/>
          <p:nvPr/>
        </p:nvSpPr>
        <p:spPr>
          <a:xfrm>
            <a:off x="375465" y="228327"/>
            <a:ext cx="720000" cy="72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6494879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5" descr="Tick">
            <a:extLst>
              <a:ext uri="{FF2B5EF4-FFF2-40B4-BE49-F238E27FC236}">
                <a16:creationId xmlns:a16="http://schemas.microsoft.com/office/drawing/2014/main" xmlns="" id="{21BC5896-E2CE-224A-A959-8009CC0C04A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370610" y="1327332"/>
            <a:ext cx="3794869" cy="3794869"/>
          </a:xfrm>
          <a:prstGeom prst="rect">
            <a:avLst/>
          </a:prstGeom>
        </p:spPr>
      </p:pic>
      <p:pic>
        <p:nvPicPr>
          <p:cNvPr id="13" name="Graphic 9" descr="Warning">
            <a:extLst>
              <a:ext uri="{FF2B5EF4-FFF2-40B4-BE49-F238E27FC236}">
                <a16:creationId xmlns:a16="http://schemas.microsoft.com/office/drawing/2014/main" xmlns="" id="{44D340DB-D672-D142-87C8-2A6BE1C831E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225549" y="1246710"/>
            <a:ext cx="3748190" cy="37481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0062C181-342D-8543-85C2-6FA24D3EA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6477"/>
            <a:ext cx="8832275" cy="623700"/>
          </a:xfr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r"/>
            <a:r>
              <a:rPr lang="ar-TN" b="1" dirty="0"/>
              <a:t>الوظيفة  العمومية و المنشآت  العمومية</a:t>
            </a:r>
            <a:endParaRPr lang="x-none" b="1" dirty="0"/>
          </a:p>
        </p:txBody>
      </p:sp>
      <p:sp>
        <p:nvSpPr>
          <p:cNvPr id="29" name="ZoneTexte 68">
            <a:extLst>
              <a:ext uri="{FF2B5EF4-FFF2-40B4-BE49-F238E27FC236}">
                <a16:creationId xmlns:a16="http://schemas.microsoft.com/office/drawing/2014/main" xmlns="" id="{D49A1540-5889-E346-90A6-B22DBDB34B4F}"/>
              </a:ext>
            </a:extLst>
          </p:cNvPr>
          <p:cNvSpPr txBox="1"/>
          <p:nvPr/>
        </p:nvSpPr>
        <p:spPr>
          <a:xfrm>
            <a:off x="5668994" y="1644432"/>
            <a:ext cx="35979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algn="ctr"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ar-TN" dirty="0"/>
              <a:t>الأنشطة المعنية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654518" y="2139855"/>
            <a:ext cx="4286219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800" b="1" dirty="0">
                <a:solidFill>
                  <a:schemeClr val="accent1">
                    <a:lumMod val="50000"/>
                  </a:schemeClr>
                </a:solidFill>
              </a:rPr>
              <a:t>50%</a:t>
            </a: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 من عدد الأعوان أو الاطارات اصحاب الخطط الوظيفية اضافة إلى الخدمات الاساسية بحسب الحاجيات الحقيقية للإدارة </a:t>
            </a:r>
          </a:p>
          <a:p>
            <a:pPr marL="321750" indent="-28575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ar-TN" sz="1800" b="1" dirty="0">
                <a:solidFill>
                  <a:schemeClr val="accent1">
                    <a:lumMod val="50000"/>
                  </a:schemeClr>
                </a:solidFill>
              </a:rPr>
              <a:t>سيصدر أمر حكومي ينظم كافة التفاصيل المتعلقة بعمل أعوان الدولة والجماعات المحلية</a:t>
            </a:r>
            <a:endParaRPr lang="en-US" sz="1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8" name="ZoneTexte 68">
            <a:extLst>
              <a:ext uri="{FF2B5EF4-FFF2-40B4-BE49-F238E27FC236}">
                <a16:creationId xmlns:a16="http://schemas.microsoft.com/office/drawing/2014/main" xmlns="" id="{D49A1540-5889-E346-90A6-B22DBDB34B4F}"/>
              </a:ext>
            </a:extLst>
          </p:cNvPr>
          <p:cNvSpPr txBox="1"/>
          <p:nvPr/>
        </p:nvSpPr>
        <p:spPr>
          <a:xfrm>
            <a:off x="2589770" y="1665500"/>
            <a:ext cx="22833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TN" sz="2800" b="1" dirty="0">
                <a:solidFill>
                  <a:schemeClr val="accent1"/>
                </a:solidFill>
              </a:rPr>
              <a:t>الشروط</a:t>
            </a:r>
            <a:endParaRPr lang="fr-FR" sz="2800" b="1" dirty="0">
              <a:solidFill>
                <a:schemeClr val="accent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8B943663-A430-5F4B-A289-1358E4A3FFBA}"/>
              </a:ext>
            </a:extLst>
          </p:cNvPr>
          <p:cNvSpPr/>
          <p:nvPr/>
        </p:nvSpPr>
        <p:spPr>
          <a:xfrm>
            <a:off x="5992553" y="2188720"/>
            <a:ext cx="2550981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2414" indent="-214313" algn="r" rt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ar-T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المصالح المركزية </a:t>
            </a:r>
          </a:p>
          <a:p>
            <a:pPr marL="262414" indent="-214313" algn="r" rt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ar-T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المصالح الجهوية</a:t>
            </a:r>
            <a:endParaRPr lang="fr-FR"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62414" indent="-214313" algn="r" rt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ar-T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البلديات</a:t>
            </a:r>
          </a:p>
          <a:p>
            <a:pPr marL="262414" indent="-214313" algn="r" rt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ar-TN" sz="20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القباضات</a:t>
            </a:r>
            <a:r>
              <a:rPr lang="ar-T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المالية</a:t>
            </a:r>
          </a:p>
          <a:p>
            <a:pPr marL="262414" indent="-214313" algn="r" rt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ar-T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العدالة بجميع مكوناتها</a:t>
            </a:r>
            <a:endParaRPr lang="x-none"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80DE1665-DD4D-7341-A476-C4EA3BB6845F}"/>
              </a:ext>
            </a:extLst>
          </p:cNvPr>
          <p:cNvSpPr/>
          <p:nvPr/>
        </p:nvSpPr>
        <p:spPr>
          <a:xfrm>
            <a:off x="375465" y="228327"/>
            <a:ext cx="720000" cy="72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416829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E1B1E5FE-AC92-904B-B37E-2C72B7DE2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410" y="1848212"/>
            <a:ext cx="6546250" cy="1244700"/>
          </a:xfrm>
          <a:noFill/>
          <a:ln>
            <a:noFill/>
          </a:ln>
        </p:spPr>
        <p:txBody>
          <a:bodyPr spcFirstLastPara="1" vert="horz" wrap="square" lIns="68580" tIns="34290" rIns="68580" bIns="34290" rtlCol="0" anchor="ctr" anchorCtr="0">
            <a:normAutofit fontScale="90000"/>
          </a:bodyPr>
          <a:lstStyle/>
          <a:p>
            <a:pPr marL="457200" indent="-311150">
              <a:lnSpc>
                <a:spcPct val="90000"/>
              </a:lnSpc>
              <a:spcBef>
                <a:spcPct val="0"/>
              </a:spcBef>
              <a:buClr>
                <a:srgbClr val="000000"/>
              </a:buClr>
              <a:buFont typeface="Roboto"/>
            </a:pPr>
            <a:r>
              <a:rPr lang="ar-TN" sz="8800" b="1" kern="1200" dirty="0">
                <a:solidFill>
                  <a:schemeClr val="bg1"/>
                </a:solidFill>
                <a:latin typeface="Roboto"/>
                <a:ea typeface="Roboto"/>
                <a:sym typeface="Roboto"/>
              </a:rPr>
              <a:t>المسار الاجرائي</a:t>
            </a:r>
            <a:endParaRPr lang="x-none" sz="8800" b="1" kern="1200" dirty="0">
              <a:solidFill>
                <a:schemeClr val="bg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3317556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ar-TN" dirty="0"/>
              <a:t>المخطط 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956956" y="1039457"/>
            <a:ext cx="4110445" cy="3257889"/>
          </a:xfr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146050" indent="0" algn="r" rtl="1">
              <a:lnSpc>
                <a:spcPct val="265000"/>
              </a:lnSpc>
              <a:buNone/>
            </a:pPr>
            <a:r>
              <a:rPr lang="ar-TN" sz="1800" b="1" dirty="0"/>
              <a:t>مبادئ استراتيجية الحجر الصحي الموجه</a:t>
            </a:r>
          </a:p>
          <a:p>
            <a:pPr marL="146050" indent="0" algn="r" rtl="1">
              <a:lnSpc>
                <a:spcPct val="265000"/>
              </a:lnSpc>
              <a:buNone/>
            </a:pPr>
            <a:r>
              <a:rPr lang="ar-TN" sz="1800" b="1" dirty="0"/>
              <a:t>الانعكاسات الاقتصادية و الاجتماعية للأزمة </a:t>
            </a:r>
          </a:p>
          <a:p>
            <a:pPr marL="146050" indent="0" algn="r" rtl="1">
              <a:lnSpc>
                <a:spcPct val="265000"/>
              </a:lnSpc>
              <a:buNone/>
            </a:pPr>
            <a:r>
              <a:rPr lang="ar-TN" sz="1800" b="1" dirty="0"/>
              <a:t>مقاربة استراتيجية الحجر الصحي الموجه</a:t>
            </a:r>
          </a:p>
          <a:p>
            <a:pPr marL="146050" indent="0" algn="r" rtl="1">
              <a:lnSpc>
                <a:spcPct val="265000"/>
              </a:lnSpc>
              <a:buNone/>
            </a:pPr>
            <a:r>
              <a:rPr lang="ar-TN" sz="1800" b="1" dirty="0"/>
              <a:t>الفئات المستثناة </a:t>
            </a:r>
          </a:p>
          <a:p>
            <a:pPr marL="146050" indent="0" algn="r" rtl="1">
              <a:lnSpc>
                <a:spcPct val="265000"/>
              </a:lnSpc>
              <a:buNone/>
            </a:pPr>
            <a:r>
              <a:rPr lang="ar-TN" sz="1800" b="1" dirty="0"/>
              <a:t>دليل  شروط السلامة </a:t>
            </a:r>
          </a:p>
        </p:txBody>
      </p:sp>
      <p:sp>
        <p:nvSpPr>
          <p:cNvPr id="4" name="Oval 20">
            <a:extLst>
              <a:ext uri="{FF2B5EF4-FFF2-40B4-BE49-F238E27FC236}">
                <a16:creationId xmlns:a16="http://schemas.microsoft.com/office/drawing/2014/main" xmlns="" id="{60AFC857-A93C-1C4C-8984-EB85B3A971B4}"/>
              </a:ext>
            </a:extLst>
          </p:cNvPr>
          <p:cNvSpPr/>
          <p:nvPr/>
        </p:nvSpPr>
        <p:spPr>
          <a:xfrm>
            <a:off x="8030077" y="1326753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1</a:t>
            </a:r>
            <a:endParaRPr lang="x-none" sz="900" b="1" dirty="0"/>
          </a:p>
        </p:txBody>
      </p:sp>
      <p:sp>
        <p:nvSpPr>
          <p:cNvPr id="5" name="Oval 20">
            <a:extLst>
              <a:ext uri="{FF2B5EF4-FFF2-40B4-BE49-F238E27FC236}">
                <a16:creationId xmlns:a16="http://schemas.microsoft.com/office/drawing/2014/main" xmlns="" id="{BCA2333F-6EC7-554C-8BF5-549601DD1079}"/>
              </a:ext>
            </a:extLst>
          </p:cNvPr>
          <p:cNvSpPr/>
          <p:nvPr/>
        </p:nvSpPr>
        <p:spPr>
          <a:xfrm>
            <a:off x="8030077" y="2056248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2</a:t>
            </a:r>
            <a:endParaRPr lang="x-none" sz="900" b="1" dirty="0"/>
          </a:p>
        </p:txBody>
      </p:sp>
      <p:sp>
        <p:nvSpPr>
          <p:cNvPr id="6" name="Oval 20">
            <a:extLst>
              <a:ext uri="{FF2B5EF4-FFF2-40B4-BE49-F238E27FC236}">
                <a16:creationId xmlns:a16="http://schemas.microsoft.com/office/drawing/2014/main" xmlns="" id="{5DE1A2D1-FE05-A04F-B6B4-E37C57FB6C3F}"/>
              </a:ext>
            </a:extLst>
          </p:cNvPr>
          <p:cNvSpPr/>
          <p:nvPr/>
        </p:nvSpPr>
        <p:spPr>
          <a:xfrm>
            <a:off x="8030077" y="2785743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3</a:t>
            </a:r>
            <a:endParaRPr lang="x-none" sz="900" b="1" dirty="0"/>
          </a:p>
        </p:txBody>
      </p:sp>
      <p:sp>
        <p:nvSpPr>
          <p:cNvPr id="7" name="Oval 20">
            <a:extLst>
              <a:ext uri="{FF2B5EF4-FFF2-40B4-BE49-F238E27FC236}">
                <a16:creationId xmlns:a16="http://schemas.microsoft.com/office/drawing/2014/main" xmlns="" id="{4DD1ACCA-9486-E246-8B23-3ED950AE8417}"/>
              </a:ext>
            </a:extLst>
          </p:cNvPr>
          <p:cNvSpPr/>
          <p:nvPr/>
        </p:nvSpPr>
        <p:spPr>
          <a:xfrm>
            <a:off x="8030077" y="3515238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4</a:t>
            </a:r>
            <a:endParaRPr lang="x-none" sz="900" b="1" dirty="0"/>
          </a:p>
        </p:txBody>
      </p:sp>
      <p:sp>
        <p:nvSpPr>
          <p:cNvPr id="8" name="Oval 20">
            <a:extLst>
              <a:ext uri="{FF2B5EF4-FFF2-40B4-BE49-F238E27FC236}">
                <a16:creationId xmlns:a16="http://schemas.microsoft.com/office/drawing/2014/main" xmlns="" id="{D7E62366-FBC2-4848-8750-A09D6F5C6015}"/>
              </a:ext>
            </a:extLst>
          </p:cNvPr>
          <p:cNvSpPr/>
          <p:nvPr/>
        </p:nvSpPr>
        <p:spPr>
          <a:xfrm>
            <a:off x="8030077" y="4244734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5</a:t>
            </a:r>
            <a:endParaRPr lang="x-none" sz="900" b="1" dirty="0"/>
          </a:p>
        </p:txBody>
      </p:sp>
      <p:sp>
        <p:nvSpPr>
          <p:cNvPr id="9" name="Oval 20">
            <a:extLst>
              <a:ext uri="{FF2B5EF4-FFF2-40B4-BE49-F238E27FC236}">
                <a16:creationId xmlns:a16="http://schemas.microsoft.com/office/drawing/2014/main" xmlns="" id="{FF7560EE-8628-D440-820A-9D4F40B33AFC}"/>
              </a:ext>
            </a:extLst>
          </p:cNvPr>
          <p:cNvSpPr/>
          <p:nvPr/>
        </p:nvSpPr>
        <p:spPr>
          <a:xfrm>
            <a:off x="3041310" y="1326753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6</a:t>
            </a:r>
            <a:endParaRPr lang="x-none" sz="900" b="1" dirty="0"/>
          </a:p>
        </p:txBody>
      </p:sp>
      <p:sp>
        <p:nvSpPr>
          <p:cNvPr id="10" name="Oval 20">
            <a:extLst>
              <a:ext uri="{FF2B5EF4-FFF2-40B4-BE49-F238E27FC236}">
                <a16:creationId xmlns:a16="http://schemas.microsoft.com/office/drawing/2014/main" xmlns="" id="{81D82DD5-3BA9-7F4B-85BD-0DF14F197712}"/>
              </a:ext>
            </a:extLst>
          </p:cNvPr>
          <p:cNvSpPr/>
          <p:nvPr/>
        </p:nvSpPr>
        <p:spPr>
          <a:xfrm>
            <a:off x="3041310" y="2056248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7</a:t>
            </a:r>
            <a:endParaRPr lang="x-none" sz="900" b="1" dirty="0"/>
          </a:p>
        </p:txBody>
      </p:sp>
      <p:sp>
        <p:nvSpPr>
          <p:cNvPr id="11" name="Oval 20">
            <a:extLst>
              <a:ext uri="{FF2B5EF4-FFF2-40B4-BE49-F238E27FC236}">
                <a16:creationId xmlns:a16="http://schemas.microsoft.com/office/drawing/2014/main" xmlns="" id="{35757817-6EB2-CE4A-9884-1AC0417A74A5}"/>
              </a:ext>
            </a:extLst>
          </p:cNvPr>
          <p:cNvSpPr/>
          <p:nvPr/>
        </p:nvSpPr>
        <p:spPr>
          <a:xfrm>
            <a:off x="3041310" y="2785743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8</a:t>
            </a:r>
            <a:endParaRPr lang="x-none" sz="900" b="1" dirty="0"/>
          </a:p>
        </p:txBody>
      </p:sp>
      <p:sp>
        <p:nvSpPr>
          <p:cNvPr id="12" name="Oval 20">
            <a:extLst>
              <a:ext uri="{FF2B5EF4-FFF2-40B4-BE49-F238E27FC236}">
                <a16:creationId xmlns:a16="http://schemas.microsoft.com/office/drawing/2014/main" xmlns="" id="{ED9C4C01-6B58-F645-B4BF-5A48B8F34F4F}"/>
              </a:ext>
            </a:extLst>
          </p:cNvPr>
          <p:cNvSpPr/>
          <p:nvPr/>
        </p:nvSpPr>
        <p:spPr>
          <a:xfrm>
            <a:off x="3041310" y="3515238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9</a:t>
            </a:r>
            <a:endParaRPr lang="x-none" sz="900" b="1" dirty="0"/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C80586C6-A76A-B744-8543-1BB592A3E267}"/>
              </a:ext>
            </a:extLst>
          </p:cNvPr>
          <p:cNvSpPr/>
          <p:nvPr/>
        </p:nvSpPr>
        <p:spPr>
          <a:xfrm>
            <a:off x="3041310" y="4244734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10</a:t>
            </a:r>
            <a:endParaRPr lang="x-none" sz="900" b="1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97AE2C7-8775-2A4F-B2A8-7B2406448C51}"/>
              </a:ext>
            </a:extLst>
          </p:cNvPr>
          <p:cNvSpPr/>
          <p:nvPr/>
        </p:nvSpPr>
        <p:spPr>
          <a:xfrm>
            <a:off x="-1493366" y="1039457"/>
            <a:ext cx="4572000" cy="29737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1" wrap="square" lIns="91425" tIns="91425" rIns="91425" bIns="91425" anchor="t" anchorCtr="0">
            <a:noAutofit/>
          </a:bodyPr>
          <a:lstStyle/>
          <a:p>
            <a:pPr marL="146050" algn="r" rtl="1">
              <a:lnSpc>
                <a:spcPct val="265000"/>
              </a:lnSpc>
              <a:buClr>
                <a:schemeClr val="dk2"/>
              </a:buClr>
              <a:buSzPts val="1300"/>
            </a:pPr>
            <a:r>
              <a:rPr lang="ar-TN" sz="1800" b="1" dirty="0">
                <a:solidFill>
                  <a:schemeClr val="dk2"/>
                </a:solidFill>
                <a:latin typeface="Roboto"/>
                <a:ea typeface="Roboto"/>
                <a:sym typeface="Roboto"/>
              </a:rPr>
              <a:t>تحديد القطاعات حسب المراحل </a:t>
            </a:r>
          </a:p>
          <a:p>
            <a:pPr marL="146050" algn="r" rtl="1">
              <a:lnSpc>
                <a:spcPct val="265000"/>
              </a:lnSpc>
              <a:buClr>
                <a:schemeClr val="dk2"/>
              </a:buClr>
              <a:buSzPts val="1300"/>
            </a:pPr>
            <a:r>
              <a:rPr lang="ar-TN" sz="1800" b="1" dirty="0">
                <a:solidFill>
                  <a:schemeClr val="dk2"/>
                </a:solidFill>
                <a:latin typeface="Roboto"/>
                <a:ea typeface="Roboto"/>
                <a:sym typeface="Roboto"/>
              </a:rPr>
              <a:t>التطبيقات و مواقع الواب</a:t>
            </a:r>
          </a:p>
          <a:p>
            <a:pPr marL="146050" algn="r" rtl="1">
              <a:lnSpc>
                <a:spcPct val="265000"/>
              </a:lnSpc>
              <a:buClr>
                <a:schemeClr val="dk2"/>
              </a:buClr>
              <a:buSzPts val="1300"/>
            </a:pPr>
            <a:r>
              <a:rPr lang="ar-TN" sz="1800" b="1" dirty="0">
                <a:solidFill>
                  <a:schemeClr val="dk2"/>
                </a:solidFill>
                <a:latin typeface="Roboto"/>
                <a:ea typeface="Roboto"/>
                <a:sym typeface="Roboto"/>
              </a:rPr>
              <a:t>النقل</a:t>
            </a:r>
          </a:p>
          <a:p>
            <a:pPr marL="146050" algn="r" rtl="1">
              <a:lnSpc>
                <a:spcPct val="265000"/>
              </a:lnSpc>
              <a:buClr>
                <a:schemeClr val="dk2"/>
              </a:buClr>
              <a:buSzPts val="1300"/>
            </a:pPr>
            <a:r>
              <a:rPr lang="ar-TN" sz="1800" b="1" dirty="0">
                <a:solidFill>
                  <a:schemeClr val="dk2"/>
                </a:solidFill>
                <a:latin typeface="Roboto"/>
                <a:ea typeface="Roboto"/>
                <a:sym typeface="Roboto"/>
              </a:rPr>
              <a:t>المراقبة و المتابعة </a:t>
            </a:r>
          </a:p>
          <a:p>
            <a:pPr marL="146050" algn="r" rtl="1">
              <a:lnSpc>
                <a:spcPct val="265000"/>
              </a:lnSpc>
              <a:buClr>
                <a:schemeClr val="dk2"/>
              </a:buClr>
              <a:buSzPts val="1300"/>
            </a:pPr>
            <a:r>
              <a:rPr lang="ar-TN" sz="1800" b="1" dirty="0">
                <a:solidFill>
                  <a:schemeClr val="dk2"/>
                </a:solidFill>
                <a:latin typeface="Roboto"/>
                <a:ea typeface="Roboto"/>
                <a:sym typeface="Roboto"/>
              </a:rPr>
              <a:t>شروط نجاح وتطبيق الاستراتيجية</a:t>
            </a:r>
          </a:p>
        </p:txBody>
      </p:sp>
    </p:spTree>
    <p:extLst>
      <p:ext uri="{BB962C8B-B14F-4D97-AF65-F5344CB8AC3E}">
        <p14:creationId xmlns:p14="http://schemas.microsoft.com/office/powerpoint/2010/main" val="37921747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CE5769DD-D018-E240-8161-BE64845112B5}"/>
              </a:ext>
            </a:extLst>
          </p:cNvPr>
          <p:cNvSpPr/>
          <p:nvPr/>
        </p:nvSpPr>
        <p:spPr>
          <a:xfrm>
            <a:off x="349719" y="2269656"/>
            <a:ext cx="1825447" cy="10000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dirty="0">
                <a:solidFill>
                  <a:schemeClr val="tx1"/>
                </a:solidFill>
              </a:rPr>
              <a:t>بريد الكتروني يتضمن قائمة في الأشخاص المخولين للتنقل للعمل</a:t>
            </a:r>
            <a:endParaRPr lang="x-none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C9755DFD-AC3B-F44B-BA15-B248A218E764}"/>
              </a:ext>
            </a:extLst>
          </p:cNvPr>
          <p:cNvSpPr/>
          <p:nvPr/>
        </p:nvSpPr>
        <p:spPr>
          <a:xfrm>
            <a:off x="6736484" y="1446349"/>
            <a:ext cx="2248357" cy="28154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934B078-4629-7541-ADC4-27BF48C3C77D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ar-TN" sz="3200" b="1" dirty="0"/>
              <a:t>المسار الاجرائي لاستئناف النشاط بالنسبة للشركات  </a:t>
            </a:r>
            <a:endParaRPr lang="x-none" sz="3200" b="1" dirty="0"/>
          </a:p>
        </p:txBody>
      </p:sp>
      <p:pic>
        <p:nvPicPr>
          <p:cNvPr id="11" name="Graphic 10" descr="Monitor">
            <a:extLst>
              <a:ext uri="{FF2B5EF4-FFF2-40B4-BE49-F238E27FC236}">
                <a16:creationId xmlns:a16="http://schemas.microsoft.com/office/drawing/2014/main" xmlns="" id="{5EBFCDF1-32D8-A04F-8BB5-3756F9BBB3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917925" y="2294402"/>
            <a:ext cx="914400" cy="9144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6ACD0AC-C56B-8E45-9257-5F60574FA89A}"/>
              </a:ext>
            </a:extLst>
          </p:cNvPr>
          <p:cNvSpPr/>
          <p:nvPr/>
        </p:nvSpPr>
        <p:spPr>
          <a:xfrm>
            <a:off x="5752140" y="1629130"/>
            <a:ext cx="1106443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/>
            </a:solidFill>
          </a:ln>
        </p:spPr>
        <p:txBody>
          <a:bodyPr wrap="square" anchor="ctr">
            <a:noAutofit/>
          </a:bodyPr>
          <a:lstStyle/>
          <a:p>
            <a:pPr algn="ctr"/>
            <a:r>
              <a:rPr lang="ar-TN" dirty="0"/>
              <a:t>تصريح بمباشرة النشاط</a:t>
            </a:r>
            <a:endParaRPr lang="x-none" dirty="0"/>
          </a:p>
        </p:txBody>
      </p:sp>
      <p:pic>
        <p:nvPicPr>
          <p:cNvPr id="14" name="Graphic 13" descr="Tick">
            <a:extLst>
              <a:ext uri="{FF2B5EF4-FFF2-40B4-BE49-F238E27FC236}">
                <a16:creationId xmlns:a16="http://schemas.microsoft.com/office/drawing/2014/main" xmlns="" id="{082C8A39-AEAE-A44B-BF5F-55F11B05DD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557104" y="1317143"/>
            <a:ext cx="575812" cy="575812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FBEC6098-70B3-834E-A866-B45410F6D5AD}"/>
              </a:ext>
            </a:extLst>
          </p:cNvPr>
          <p:cNvSpPr/>
          <p:nvPr/>
        </p:nvSpPr>
        <p:spPr>
          <a:xfrm>
            <a:off x="5742345" y="3275190"/>
            <a:ext cx="1116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/>
            </a:solidFill>
          </a:ln>
        </p:spPr>
        <p:txBody>
          <a:bodyPr wrap="square" anchor="ctr">
            <a:noAutofit/>
          </a:bodyPr>
          <a:lstStyle/>
          <a:p>
            <a:pPr algn="ctr"/>
            <a:r>
              <a:rPr lang="ar-TN" dirty="0"/>
              <a:t>الترخيص</a:t>
            </a:r>
          </a:p>
          <a:p>
            <a:pPr algn="ctr"/>
            <a:r>
              <a:rPr lang="ar-TN" dirty="0"/>
              <a:t>في الحالات الاستثنائية</a:t>
            </a:r>
            <a:endParaRPr lang="x-none" dirty="0"/>
          </a:p>
        </p:txBody>
      </p:sp>
      <p:cxnSp>
        <p:nvCxnSpPr>
          <p:cNvPr id="27" name="Elbow Connector 26">
            <a:extLst>
              <a:ext uri="{FF2B5EF4-FFF2-40B4-BE49-F238E27FC236}">
                <a16:creationId xmlns:a16="http://schemas.microsoft.com/office/drawing/2014/main" xmlns="" id="{064A3219-132D-1E4A-BDEB-42F6AAB9F858}"/>
              </a:ext>
            </a:extLst>
          </p:cNvPr>
          <p:cNvCxnSpPr>
            <a:cxnSpLocks/>
            <a:stCxn id="11" idx="1"/>
            <a:endCxn id="12" idx="3"/>
          </p:cNvCxnSpPr>
          <p:nvPr/>
        </p:nvCxnSpPr>
        <p:spPr>
          <a:xfrm rot="10800000">
            <a:off x="6858583" y="2025130"/>
            <a:ext cx="1059342" cy="726472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>
            <a:extLst>
              <a:ext uri="{FF2B5EF4-FFF2-40B4-BE49-F238E27FC236}">
                <a16:creationId xmlns:a16="http://schemas.microsoft.com/office/drawing/2014/main" xmlns="" id="{5EFF92E4-FA6C-824A-A901-DF0005748C1B}"/>
              </a:ext>
            </a:extLst>
          </p:cNvPr>
          <p:cNvCxnSpPr>
            <a:cxnSpLocks/>
            <a:stCxn id="11" idx="1"/>
            <a:endCxn id="19" idx="3"/>
          </p:cNvCxnSpPr>
          <p:nvPr/>
        </p:nvCxnSpPr>
        <p:spPr>
          <a:xfrm rot="10800000" flipV="1">
            <a:off x="6858345" y="2751602"/>
            <a:ext cx="1059580" cy="919588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Elbow Connector 35">
            <a:extLst>
              <a:ext uri="{FF2B5EF4-FFF2-40B4-BE49-F238E27FC236}">
                <a16:creationId xmlns:a16="http://schemas.microsoft.com/office/drawing/2014/main" xmlns="" id="{2017CCEC-3FE2-A74B-86C8-ACE4ABA630AB}"/>
              </a:ext>
            </a:extLst>
          </p:cNvPr>
          <p:cNvCxnSpPr>
            <a:cxnSpLocks/>
            <a:stCxn id="19" idx="1"/>
            <a:endCxn id="22" idx="3"/>
          </p:cNvCxnSpPr>
          <p:nvPr/>
        </p:nvCxnSpPr>
        <p:spPr>
          <a:xfrm rot="10800000">
            <a:off x="4720697" y="2751602"/>
            <a:ext cx="1021648" cy="919588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phic 24" descr="Document">
            <a:extLst>
              <a:ext uri="{FF2B5EF4-FFF2-40B4-BE49-F238E27FC236}">
                <a16:creationId xmlns:a16="http://schemas.microsoft.com/office/drawing/2014/main" xmlns="" id="{20C0A62B-657C-EA4A-9516-EBC55600DA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556932" y="2969521"/>
            <a:ext cx="626970" cy="62697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7744984" y="3121301"/>
            <a:ext cx="126028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ar-TN" b="1" dirty="0"/>
              <a:t>طلب عبر الإنترنت</a:t>
            </a:r>
            <a:endParaRPr lang="fr-FR" b="1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81AC020D-C440-664A-9E52-D114009E6C77}"/>
              </a:ext>
            </a:extLst>
          </p:cNvPr>
          <p:cNvSpPr/>
          <p:nvPr/>
        </p:nvSpPr>
        <p:spPr>
          <a:xfrm>
            <a:off x="3443593" y="2355602"/>
            <a:ext cx="1277104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/>
            </a:solidFill>
          </a:ln>
        </p:spPr>
        <p:txBody>
          <a:bodyPr wrap="square" anchor="ctr">
            <a:noAutofit/>
          </a:bodyPr>
          <a:lstStyle/>
          <a:p>
            <a:pPr algn="ctr"/>
            <a:r>
              <a:rPr lang="ar-TN" dirty="0"/>
              <a:t>مصادقة  أو اعلام الوزارات القطاعية</a:t>
            </a:r>
            <a:endParaRPr lang="x-none" dirty="0"/>
          </a:p>
        </p:txBody>
      </p:sp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xmlns="" id="{F7F39C5D-B6FB-D14F-A9F1-E98F6FBD0B44}"/>
              </a:ext>
            </a:extLst>
          </p:cNvPr>
          <p:cNvCxnSpPr>
            <a:cxnSpLocks/>
            <a:stCxn id="12" idx="1"/>
            <a:endCxn id="22" idx="3"/>
          </p:cNvCxnSpPr>
          <p:nvPr/>
        </p:nvCxnSpPr>
        <p:spPr>
          <a:xfrm rot="10800000" flipV="1">
            <a:off x="4720698" y="2025130"/>
            <a:ext cx="1031443" cy="726472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Graphic 13" descr="Tick">
            <a:extLst>
              <a:ext uri="{FF2B5EF4-FFF2-40B4-BE49-F238E27FC236}">
                <a16:creationId xmlns:a16="http://schemas.microsoft.com/office/drawing/2014/main" xmlns="" id="{082C8A39-AEAE-A44B-BF5F-55F11B05DD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455474" y="2995100"/>
            <a:ext cx="575812" cy="575812"/>
          </a:xfrm>
          <a:prstGeom prst="rect">
            <a:avLst/>
          </a:prstGeom>
        </p:spPr>
      </p:pic>
      <p:cxnSp>
        <p:nvCxnSpPr>
          <p:cNvPr id="29" name="Elbow Connector 28">
            <a:extLst>
              <a:ext uri="{FF2B5EF4-FFF2-40B4-BE49-F238E27FC236}">
                <a16:creationId xmlns:a16="http://schemas.microsoft.com/office/drawing/2014/main" xmlns="" id="{AF88D260-E432-0443-B777-1EE883CB08EC}"/>
              </a:ext>
            </a:extLst>
          </p:cNvPr>
          <p:cNvCxnSpPr>
            <a:cxnSpLocks/>
            <a:stCxn id="22" idx="1"/>
            <a:endCxn id="31" idx="3"/>
          </p:cNvCxnSpPr>
          <p:nvPr/>
        </p:nvCxnSpPr>
        <p:spPr>
          <a:xfrm rot="10800000" flipV="1">
            <a:off x="2175167" y="2751601"/>
            <a:ext cx="1268427" cy="18063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93FA554E-B319-3740-B67F-3F5864BC5610}"/>
              </a:ext>
            </a:extLst>
          </p:cNvPr>
          <p:cNvSpPr/>
          <p:nvPr/>
        </p:nvSpPr>
        <p:spPr>
          <a:xfrm>
            <a:off x="2471332" y="2416065"/>
            <a:ext cx="720000" cy="72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1200" b="1" dirty="0"/>
              <a:t>24h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xmlns="" id="{D934B078-4629-7541-ADC4-27BF48C3C77D}"/>
              </a:ext>
            </a:extLst>
          </p:cNvPr>
          <p:cNvSpPr txBox="1">
            <a:spLocks/>
          </p:cNvSpPr>
          <p:nvPr/>
        </p:nvSpPr>
        <p:spPr>
          <a:xfrm>
            <a:off x="249887" y="4236958"/>
            <a:ext cx="8520600" cy="6237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3200" b="1" i="0" u="none" strike="noStrike" cap="none">
                <a:solidFill>
                  <a:srgbClr val="C00000"/>
                </a:solidFill>
                <a:latin typeface="Merriweather"/>
                <a:ea typeface="Merriweather"/>
                <a:cs typeface="Merriweather"/>
                <a:sym typeface="Merriweather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erriweather"/>
              <a:buNone/>
              <a:defRPr sz="2800" b="0" i="0" u="none" strike="noStrike" cap="none"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9pPr>
          </a:lstStyle>
          <a:p>
            <a:r>
              <a:rPr lang="ar-TN" sz="2000" dirty="0"/>
              <a:t> كل التراخيص الحالية تبقى سارية المفعول</a:t>
            </a:r>
            <a:endParaRPr lang="x-none" sz="2000" dirty="0"/>
          </a:p>
        </p:txBody>
      </p:sp>
    </p:spTree>
    <p:extLst>
      <p:ext uri="{BB962C8B-B14F-4D97-AF65-F5344CB8AC3E}">
        <p14:creationId xmlns:p14="http://schemas.microsoft.com/office/powerpoint/2010/main" val="13520235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C9755DFD-AC3B-F44B-BA15-B248A218E764}"/>
              </a:ext>
            </a:extLst>
          </p:cNvPr>
          <p:cNvSpPr/>
          <p:nvPr/>
        </p:nvSpPr>
        <p:spPr>
          <a:xfrm>
            <a:off x="6736484" y="1373612"/>
            <a:ext cx="2248357" cy="28154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934B078-4629-7541-ADC4-27BF48C3C77D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ar-TN" sz="3200" b="1" dirty="0"/>
              <a:t>المسار الاجرائي لاستئناف النشاط بالنسبة للمهن الصغرى  </a:t>
            </a:r>
            <a:endParaRPr lang="x-none" sz="3200" b="1" dirty="0"/>
          </a:p>
        </p:txBody>
      </p:sp>
      <p:pic>
        <p:nvPicPr>
          <p:cNvPr id="14" name="Graphic 13" descr="Tick">
            <a:extLst>
              <a:ext uri="{FF2B5EF4-FFF2-40B4-BE49-F238E27FC236}">
                <a16:creationId xmlns:a16="http://schemas.microsoft.com/office/drawing/2014/main" xmlns="" id="{082C8A39-AEAE-A44B-BF5F-55F11B05DD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497739" y="2093021"/>
            <a:ext cx="575812" cy="575812"/>
          </a:xfrm>
          <a:prstGeom prst="rect">
            <a:avLst/>
          </a:prstGeom>
        </p:spPr>
      </p:pic>
      <p:pic>
        <p:nvPicPr>
          <p:cNvPr id="25" name="Graphic 24" descr="Document">
            <a:extLst>
              <a:ext uri="{FF2B5EF4-FFF2-40B4-BE49-F238E27FC236}">
                <a16:creationId xmlns:a16="http://schemas.microsoft.com/office/drawing/2014/main" xmlns="" id="{20C0A62B-657C-EA4A-9516-EBC55600DA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258540" y="2041863"/>
            <a:ext cx="626970" cy="62697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800349" y="2703625"/>
            <a:ext cx="13404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ar-TN" dirty="0"/>
              <a:t>تصريح على الشرف</a:t>
            </a:r>
            <a:endParaRPr lang="x-none" dirty="0"/>
          </a:p>
        </p:txBody>
      </p:sp>
      <p:sp>
        <p:nvSpPr>
          <p:cNvPr id="5" name="Rectangle 4"/>
          <p:cNvSpPr/>
          <p:nvPr/>
        </p:nvSpPr>
        <p:spPr>
          <a:xfrm>
            <a:off x="3653033" y="3046194"/>
            <a:ext cx="1635063" cy="6987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6000" algn="ctr" rtl="1">
              <a:lnSpc>
                <a:spcPct val="150000"/>
              </a:lnSpc>
              <a:buClr>
                <a:schemeClr val="accent1">
                  <a:lumMod val="50000"/>
                </a:schemeClr>
              </a:buClr>
            </a:pPr>
            <a:r>
              <a:rPr lang="ar-TN" b="1" dirty="0">
                <a:solidFill>
                  <a:schemeClr val="accent1">
                    <a:lumMod val="50000"/>
                  </a:schemeClr>
                </a:solidFill>
                <a:sym typeface="Roboto"/>
              </a:rPr>
              <a:t>استمارة لكل شخص</a:t>
            </a:r>
          </a:p>
          <a:p>
            <a:pPr marL="36000" algn="just" rtl="1">
              <a:lnSpc>
                <a:spcPct val="150000"/>
              </a:lnSpc>
              <a:buClr>
                <a:schemeClr val="accent1">
                  <a:lumMod val="50000"/>
                </a:schemeClr>
              </a:buClr>
            </a:pPr>
            <a:r>
              <a:rPr lang="ar-TN" b="1" dirty="0">
                <a:solidFill>
                  <a:schemeClr val="accent1">
                    <a:lumMod val="50000"/>
                  </a:schemeClr>
                </a:solidFill>
                <a:sym typeface="Roboto"/>
              </a:rPr>
              <a:t>(مراكز الأمن و البلديات)</a:t>
            </a:r>
          </a:p>
        </p:txBody>
      </p:sp>
    </p:spTree>
    <p:extLst>
      <p:ext uri="{BB962C8B-B14F-4D97-AF65-F5344CB8AC3E}">
        <p14:creationId xmlns:p14="http://schemas.microsoft.com/office/powerpoint/2010/main" val="17153228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934B078-4629-7541-ADC4-27BF48C3C77D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ar-TN" dirty="0">
                <a:latin typeface="+mj-lt"/>
                <a:cs typeface="+mj-cs"/>
                <a:sym typeface="Arial"/>
              </a:rPr>
              <a:t>التطبيقات و مواقع الواب </a:t>
            </a:r>
            <a:endParaRPr lang="x-none" dirty="0">
              <a:latin typeface="+mj-lt"/>
              <a:cs typeface="+mj-cs"/>
            </a:endParaRPr>
          </a:p>
        </p:txBody>
      </p:sp>
      <p:sp>
        <p:nvSpPr>
          <p:cNvPr id="4" name="Doughnut 3">
            <a:extLst>
              <a:ext uri="{FF2B5EF4-FFF2-40B4-BE49-F238E27FC236}">
                <a16:creationId xmlns:a16="http://schemas.microsoft.com/office/drawing/2014/main" xmlns="" id="{F9981718-1D96-3448-A874-A719E2292F0C}"/>
              </a:ext>
            </a:extLst>
          </p:cNvPr>
          <p:cNvSpPr/>
          <p:nvPr/>
        </p:nvSpPr>
        <p:spPr>
          <a:xfrm>
            <a:off x="831729" y="1750410"/>
            <a:ext cx="720000" cy="720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pic>
        <p:nvPicPr>
          <p:cNvPr id="6" name="Graphic 5" descr="Checklist">
            <a:extLst>
              <a:ext uri="{FF2B5EF4-FFF2-40B4-BE49-F238E27FC236}">
                <a16:creationId xmlns:a16="http://schemas.microsoft.com/office/drawing/2014/main" xmlns="" id="{45AF99CF-3328-C84E-8D49-B8E80F85CD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67539" y="1874726"/>
            <a:ext cx="457200" cy="4572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CFD864A1-9080-4141-A5C7-16A22AC72C03}"/>
              </a:ext>
            </a:extLst>
          </p:cNvPr>
          <p:cNvSpPr txBox="1"/>
          <p:nvPr/>
        </p:nvSpPr>
        <p:spPr>
          <a:xfrm>
            <a:off x="-64257" y="2523818"/>
            <a:ext cx="25119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SA" dirty="0"/>
              <a:t>المواصفات القطاعية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8C9872CB-1E87-784B-8072-47984DAAA43A}"/>
              </a:ext>
            </a:extLst>
          </p:cNvPr>
          <p:cNvSpPr txBox="1"/>
          <p:nvPr/>
        </p:nvSpPr>
        <p:spPr>
          <a:xfrm>
            <a:off x="1786022" y="1928847"/>
            <a:ext cx="25119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SA" b="1" dirty="0">
                <a:solidFill>
                  <a:schemeClr val="bg2">
                    <a:lumMod val="90000"/>
                    <a:lumOff val="10000"/>
                  </a:schemeClr>
                </a:solidFill>
              </a:rPr>
              <a:t>الموقع الإلكتروني لكل وزارة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10085638-7732-0C43-8076-229A09216C62}"/>
              </a:ext>
            </a:extLst>
          </p:cNvPr>
          <p:cNvSpPr txBox="1"/>
          <p:nvPr/>
        </p:nvSpPr>
        <p:spPr>
          <a:xfrm>
            <a:off x="6549164" y="1893812"/>
            <a:ext cx="17163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b="1">
                <a:solidFill>
                  <a:schemeClr val="bg2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dirty="0"/>
              <a:t>A</a:t>
            </a:r>
            <a:r>
              <a:rPr lang="x-none" dirty="0"/>
              <a:t>pplication wiqay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8A56FC4F-1CFA-254A-A721-F467175C0F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800000" flipH="1" flipV="1">
            <a:off x="2279381" y="3484137"/>
            <a:ext cx="2422318" cy="93854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0B14485F-3115-0743-A8C5-E0D04F2FA0DC}"/>
              </a:ext>
            </a:extLst>
          </p:cNvPr>
          <p:cNvSpPr txBox="1"/>
          <p:nvPr/>
        </p:nvSpPr>
        <p:spPr>
          <a:xfrm>
            <a:off x="1611470" y="4478372"/>
            <a:ext cx="25119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C</a:t>
            </a:r>
            <a:r>
              <a:rPr lang="x-none" dirty="0">
                <a:solidFill>
                  <a:srgbClr val="0070C0"/>
                </a:solidFill>
              </a:rPr>
              <a:t>ovid-19.t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75C36636-61F1-8D4E-8638-DCEDA9891897}"/>
              </a:ext>
            </a:extLst>
          </p:cNvPr>
          <p:cNvSpPr/>
          <p:nvPr/>
        </p:nvSpPr>
        <p:spPr>
          <a:xfrm>
            <a:off x="5556150" y="2507123"/>
            <a:ext cx="10247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ar-SA" dirty="0">
                <a:solidFill>
                  <a:srgbClr val="222222"/>
                </a:solidFill>
                <a:latin typeface="arial" panose="020B0604020202020204" pitchFamily="34" charset="0"/>
              </a:rPr>
              <a:t>تتبع الحالات</a:t>
            </a:r>
          </a:p>
        </p:txBody>
      </p:sp>
      <p:pic>
        <p:nvPicPr>
          <p:cNvPr id="16" name="Graphic 15" descr="Research">
            <a:extLst>
              <a:ext uri="{FF2B5EF4-FFF2-40B4-BE49-F238E27FC236}">
                <a16:creationId xmlns:a16="http://schemas.microsoft.com/office/drawing/2014/main" xmlns="" id="{24D4CDDD-B032-DA42-A16F-D240AB04D6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5860949" y="1882766"/>
            <a:ext cx="457200" cy="457200"/>
          </a:xfrm>
          <a:prstGeom prst="rect">
            <a:avLst/>
          </a:prstGeom>
        </p:spPr>
      </p:pic>
      <p:sp>
        <p:nvSpPr>
          <p:cNvPr id="18" name="Doughnut 17">
            <a:extLst>
              <a:ext uri="{FF2B5EF4-FFF2-40B4-BE49-F238E27FC236}">
                <a16:creationId xmlns:a16="http://schemas.microsoft.com/office/drawing/2014/main" xmlns="" id="{71FB4135-B7F6-5348-9A3C-EC4C4B088C91}"/>
              </a:ext>
            </a:extLst>
          </p:cNvPr>
          <p:cNvSpPr/>
          <p:nvPr/>
        </p:nvSpPr>
        <p:spPr>
          <a:xfrm>
            <a:off x="5708529" y="1761778"/>
            <a:ext cx="720000" cy="720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pic>
        <p:nvPicPr>
          <p:cNvPr id="19" name="Graphic 18" descr="Information">
            <a:extLst>
              <a:ext uri="{FF2B5EF4-FFF2-40B4-BE49-F238E27FC236}">
                <a16:creationId xmlns:a16="http://schemas.microsoft.com/office/drawing/2014/main" xmlns="" id="{14D48D82-8F2F-C049-92F9-EFAF260037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65013" y="3704855"/>
            <a:ext cx="474451" cy="474451"/>
          </a:xfrm>
          <a:prstGeom prst="rect">
            <a:avLst/>
          </a:prstGeom>
        </p:spPr>
      </p:pic>
      <p:sp>
        <p:nvSpPr>
          <p:cNvPr id="21" name="Doughnut 20">
            <a:extLst>
              <a:ext uri="{FF2B5EF4-FFF2-40B4-BE49-F238E27FC236}">
                <a16:creationId xmlns:a16="http://schemas.microsoft.com/office/drawing/2014/main" xmlns="" id="{DB67A93D-499E-794B-8101-0D40ACA547AE}"/>
              </a:ext>
            </a:extLst>
          </p:cNvPr>
          <p:cNvSpPr/>
          <p:nvPr/>
        </p:nvSpPr>
        <p:spPr>
          <a:xfrm>
            <a:off x="831729" y="3585380"/>
            <a:ext cx="720000" cy="720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554A54A9-D975-104F-8A9F-016593E9F8F4}"/>
              </a:ext>
            </a:extLst>
          </p:cNvPr>
          <p:cNvSpPr/>
          <p:nvPr/>
        </p:nvSpPr>
        <p:spPr>
          <a:xfrm>
            <a:off x="603108" y="4318622"/>
            <a:ext cx="11929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ar-SA" dirty="0">
                <a:solidFill>
                  <a:srgbClr val="222222"/>
                </a:solidFill>
                <a:latin typeface="arial" panose="020B0604020202020204" pitchFamily="34" charset="0"/>
              </a:rPr>
              <a:t>معلومات عامة</a:t>
            </a:r>
            <a:br>
              <a:rPr lang="ar-SA" dirty="0">
                <a:solidFill>
                  <a:srgbClr val="222222"/>
                </a:solidFill>
                <a:latin typeface="arial" panose="020B0604020202020204" pitchFamily="34" charset="0"/>
              </a:rPr>
            </a:br>
            <a:endParaRPr lang="ar-SA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0DE5950B-BA28-BE46-86CC-543EE5237E46}"/>
              </a:ext>
            </a:extLst>
          </p:cNvPr>
          <p:cNvSpPr txBox="1"/>
          <p:nvPr/>
        </p:nvSpPr>
        <p:spPr>
          <a:xfrm>
            <a:off x="2460050" y="2144625"/>
            <a:ext cx="1261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>
                <a:solidFill>
                  <a:srgbClr val="0070C0"/>
                </a:solidFill>
              </a:defRPr>
            </a:lvl1pPr>
          </a:lstStyle>
          <a:p>
            <a:r>
              <a:rPr lang="x-none" dirty="0"/>
              <a:t>www.</a:t>
            </a:r>
          </a:p>
        </p:txBody>
      </p:sp>
      <p:sp>
        <p:nvSpPr>
          <p:cNvPr id="28" name="Doughnut 27">
            <a:extLst>
              <a:ext uri="{FF2B5EF4-FFF2-40B4-BE49-F238E27FC236}">
                <a16:creationId xmlns:a16="http://schemas.microsoft.com/office/drawing/2014/main" xmlns="" id="{269E0BA2-023D-3F47-9066-2755BE764EE8}"/>
              </a:ext>
            </a:extLst>
          </p:cNvPr>
          <p:cNvSpPr/>
          <p:nvPr/>
        </p:nvSpPr>
        <p:spPr>
          <a:xfrm>
            <a:off x="5729549" y="3580074"/>
            <a:ext cx="720000" cy="720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372967D3-B20A-F546-9F64-0F9DC0F8D525}"/>
              </a:ext>
            </a:extLst>
          </p:cNvPr>
          <p:cNvSpPr/>
          <p:nvPr/>
        </p:nvSpPr>
        <p:spPr>
          <a:xfrm>
            <a:off x="5445602" y="4290998"/>
            <a:ext cx="124585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ar-TN" dirty="0"/>
              <a:t>تصريح</a:t>
            </a:r>
            <a:r>
              <a:rPr lang="en-US" dirty="0"/>
              <a:t>/ </a:t>
            </a:r>
            <a:r>
              <a:rPr lang="ar-TN" dirty="0"/>
              <a:t>الترخيص</a:t>
            </a:r>
            <a:endParaRPr lang="x-none" dirty="0"/>
          </a:p>
        </p:txBody>
      </p:sp>
      <p:pic>
        <p:nvPicPr>
          <p:cNvPr id="30" name="Graphic 29" descr="Tick">
            <a:extLst>
              <a:ext uri="{FF2B5EF4-FFF2-40B4-BE49-F238E27FC236}">
                <a16:creationId xmlns:a16="http://schemas.microsoft.com/office/drawing/2014/main" xmlns="" id="{2BFCA148-CFF9-C443-B1BD-D22995943F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5852650" y="3706634"/>
            <a:ext cx="514576" cy="514576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3D9A388B-1D42-9D44-9120-A7A2E569A199}"/>
              </a:ext>
            </a:extLst>
          </p:cNvPr>
          <p:cNvSpPr/>
          <p:nvPr/>
        </p:nvSpPr>
        <p:spPr>
          <a:xfrm>
            <a:off x="6917150" y="4227203"/>
            <a:ext cx="16962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rgbClr val="0070C0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autorisation.gov.tn</a:t>
            </a:r>
            <a:endParaRPr lang="x-none" dirty="0">
              <a:solidFill>
                <a:srgbClr val="0070C0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07C96DB7-4CAC-6A42-AE24-782A1E4E3CB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775784" y="3484137"/>
            <a:ext cx="1979031" cy="665124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5CD591D5-D99C-A146-9998-3505881D1626}"/>
              </a:ext>
            </a:extLst>
          </p:cNvPr>
          <p:cNvSpPr/>
          <p:nvPr/>
        </p:nvSpPr>
        <p:spPr>
          <a:xfrm>
            <a:off x="208880" y="1366345"/>
            <a:ext cx="4363120" cy="1764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B42B046-15F2-E940-B957-2A1CA6821330}"/>
              </a:ext>
            </a:extLst>
          </p:cNvPr>
          <p:cNvSpPr/>
          <p:nvPr/>
        </p:nvSpPr>
        <p:spPr>
          <a:xfrm>
            <a:off x="205295" y="3262062"/>
            <a:ext cx="4363120" cy="1764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5F992741-0F55-C249-AA08-0DFAF3D01F0F}"/>
              </a:ext>
            </a:extLst>
          </p:cNvPr>
          <p:cNvSpPr/>
          <p:nvPr/>
        </p:nvSpPr>
        <p:spPr>
          <a:xfrm>
            <a:off x="4667755" y="1366345"/>
            <a:ext cx="4363120" cy="1764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4FE2FF7A-BDB4-9147-8DA5-B57A61E6D634}"/>
              </a:ext>
            </a:extLst>
          </p:cNvPr>
          <p:cNvSpPr/>
          <p:nvPr/>
        </p:nvSpPr>
        <p:spPr>
          <a:xfrm>
            <a:off x="4667755" y="3262062"/>
            <a:ext cx="4363120" cy="1764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624698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8A7C11D-B128-5D41-8D8D-6497D7AC2B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98670" y="2121425"/>
            <a:ext cx="4536071" cy="942600"/>
          </a:xfrm>
          <a:noFill/>
          <a:ln>
            <a:noFill/>
          </a:ln>
        </p:spPr>
        <p:txBody>
          <a:bodyPr spcFirstLastPara="1" vert="horz" wrap="square" lIns="68580" tIns="34290" rIns="68580" bIns="34290" rtlCol="0" anchor="ctr" anchorCtr="0">
            <a:normAutofit fontScale="82500" lnSpcReduction="20000"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Clr>
                <a:srgbClr val="000000"/>
              </a:buClr>
              <a:buSzPts val="10000"/>
              <a:buNone/>
            </a:pPr>
            <a:r>
              <a:rPr lang="ar-SA" sz="8800" b="1" kern="1200" dirty="0">
                <a:solidFill>
                  <a:schemeClr val="bg1"/>
                </a:solidFill>
                <a:sym typeface="Arial"/>
              </a:rPr>
              <a:t>النقل</a:t>
            </a:r>
            <a:endParaRPr lang="x-none" sz="8800" b="1" kern="1200" dirty="0">
              <a:solidFill>
                <a:schemeClr val="bg1"/>
              </a:solidFill>
              <a:latin typeface="+mj-lt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08702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8B1BD91-3771-4095-B128-FBB38285B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725" y="290469"/>
            <a:ext cx="8520600" cy="623700"/>
          </a:xfr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ar-TN" b="1" dirty="0">
                <a:sym typeface="Arial"/>
              </a:rPr>
              <a:t>المبادئ الأساسية المقترحة من قبل معهد الصحة والسلامة</a:t>
            </a:r>
            <a:endParaRPr lang="fr-FR" b="1" dirty="0">
              <a:sym typeface="Arial"/>
            </a:endParaRPr>
          </a:p>
        </p:txBody>
      </p:sp>
      <p:pic>
        <p:nvPicPr>
          <p:cNvPr id="7" name="Image 72">
            <a:extLst>
              <a:ext uri="{FF2B5EF4-FFF2-40B4-BE49-F238E27FC236}">
                <a16:creationId xmlns:a16="http://schemas.microsoft.com/office/drawing/2014/main" xmlns="" id="{57E74D14-1BD7-42AB-A7F2-C02E8042EAF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555" y="1757652"/>
            <a:ext cx="568870" cy="568870"/>
          </a:xfrm>
          <a:prstGeom prst="rect">
            <a:avLst/>
          </a:prstGeom>
        </p:spPr>
      </p:pic>
      <p:pic>
        <p:nvPicPr>
          <p:cNvPr id="8" name="Image 73">
            <a:extLst>
              <a:ext uri="{FF2B5EF4-FFF2-40B4-BE49-F238E27FC236}">
                <a16:creationId xmlns:a16="http://schemas.microsoft.com/office/drawing/2014/main" xmlns="" id="{FC49CF01-325C-4DB5-A57D-0DF8633DA4A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3199" y="1841473"/>
            <a:ext cx="487754" cy="487754"/>
          </a:xfrm>
          <a:prstGeom prst="rect">
            <a:avLst/>
          </a:prstGeom>
        </p:spPr>
      </p:pic>
      <p:pic>
        <p:nvPicPr>
          <p:cNvPr id="9" name="Image 75">
            <a:extLst>
              <a:ext uri="{FF2B5EF4-FFF2-40B4-BE49-F238E27FC236}">
                <a16:creationId xmlns:a16="http://schemas.microsoft.com/office/drawing/2014/main" xmlns="" id="{73F2D3BA-8DE7-433D-BA38-6D49FB09D0C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7841" y="3320362"/>
            <a:ext cx="398470" cy="398470"/>
          </a:xfrm>
          <a:prstGeom prst="rect">
            <a:avLst/>
          </a:prstGeom>
        </p:spPr>
      </p:pic>
      <p:sp>
        <p:nvSpPr>
          <p:cNvPr id="11" name="ZoneTexte 9">
            <a:extLst>
              <a:ext uri="{FF2B5EF4-FFF2-40B4-BE49-F238E27FC236}">
                <a16:creationId xmlns:a16="http://schemas.microsoft.com/office/drawing/2014/main" xmlns="" id="{F68C33BA-E2DD-4D9E-8347-8F7E8E847879}"/>
              </a:ext>
            </a:extLst>
          </p:cNvPr>
          <p:cNvSpPr txBox="1"/>
          <p:nvPr/>
        </p:nvSpPr>
        <p:spPr>
          <a:xfrm>
            <a:off x="4978613" y="3246560"/>
            <a:ext cx="2807921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57188" indent="-347663" algn="r" rtl="1">
              <a:buFont typeface="Wingdings" panose="05000000000000000000" pitchFamily="2" charset="2"/>
              <a:buChar char="§"/>
              <a:defRPr sz="1600"/>
            </a:lvl1pPr>
          </a:lstStyle>
          <a:p>
            <a:r>
              <a:rPr lang="ar-TN" dirty="0"/>
              <a:t>الالتزام ب</a:t>
            </a:r>
            <a:r>
              <a:rPr lang="ar-SA" dirty="0"/>
              <a:t>وضع</a:t>
            </a:r>
            <a:r>
              <a:rPr lang="ar-TN" dirty="0"/>
              <a:t> الكمامات في</a:t>
            </a:r>
            <a:r>
              <a:rPr lang="ar-SA" altLang="x-none" dirty="0"/>
              <a:t> جميع</a:t>
            </a:r>
            <a:r>
              <a:rPr lang="ar-TN" dirty="0"/>
              <a:t> وسائل النقل الفردي والعمومي</a:t>
            </a:r>
            <a:r>
              <a:rPr lang="fr-FR" dirty="0"/>
              <a:t> </a:t>
            </a:r>
            <a:endParaRPr lang="x-none" dirty="0"/>
          </a:p>
        </p:txBody>
      </p:sp>
      <p:sp>
        <p:nvSpPr>
          <p:cNvPr id="12" name="ZoneTexte 14">
            <a:extLst>
              <a:ext uri="{FF2B5EF4-FFF2-40B4-BE49-F238E27FC236}">
                <a16:creationId xmlns:a16="http://schemas.microsoft.com/office/drawing/2014/main" xmlns="" id="{1EE95315-59BB-4E63-B314-A098275AA3D0}"/>
              </a:ext>
            </a:extLst>
          </p:cNvPr>
          <p:cNvSpPr txBox="1"/>
          <p:nvPr/>
        </p:nvSpPr>
        <p:spPr>
          <a:xfrm>
            <a:off x="4572000" y="1257257"/>
            <a:ext cx="3255599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57188" indent="-347663" algn="r" rtl="1">
              <a:buFont typeface="Wingdings" panose="05000000000000000000" pitchFamily="2" charset="2"/>
              <a:buChar char="§"/>
              <a:defRPr sz="1600"/>
            </a:lvl1pPr>
          </a:lstStyle>
          <a:p>
            <a:r>
              <a:rPr lang="ar-TN" dirty="0"/>
              <a:t>التباعد </a:t>
            </a:r>
            <a:r>
              <a:rPr lang="ar-SA" dirty="0"/>
              <a:t>الجسدي</a:t>
            </a:r>
            <a:r>
              <a:rPr lang="ar-TN" dirty="0"/>
              <a:t> </a:t>
            </a:r>
            <a:r>
              <a:rPr lang="ar-SA" altLang="x-none" dirty="0"/>
              <a:t>عبر</a:t>
            </a:r>
            <a:r>
              <a:rPr lang="ar-TN" dirty="0"/>
              <a:t> تخفيض عدد الركاب في</a:t>
            </a:r>
            <a:r>
              <a:rPr lang="ar-SA" altLang="x-none" dirty="0"/>
              <a:t> جميع</a:t>
            </a:r>
            <a:r>
              <a:rPr lang="ar-TN" dirty="0"/>
              <a:t> وسائل النقل إلى النصف واحترام مسافة متر واحد على الأقل</a:t>
            </a:r>
            <a:endParaRPr lang="fr-FR" dirty="0"/>
          </a:p>
          <a:p>
            <a:endParaRPr lang="fr-FR" dirty="0"/>
          </a:p>
          <a:p>
            <a:r>
              <a:rPr lang="ar-TN" dirty="0"/>
              <a:t>مراعاة المناطق المخصصة للوقوف أو الجلوس داخل العربة</a:t>
            </a:r>
            <a:endParaRPr lang="x-none" dirty="0"/>
          </a:p>
        </p:txBody>
      </p:sp>
      <p:sp>
        <p:nvSpPr>
          <p:cNvPr id="13" name="ZoneTexte 17">
            <a:extLst>
              <a:ext uri="{FF2B5EF4-FFF2-40B4-BE49-F238E27FC236}">
                <a16:creationId xmlns:a16="http://schemas.microsoft.com/office/drawing/2014/main" xmlns="" id="{5B5875C1-762C-4564-A088-586759C2D509}"/>
              </a:ext>
            </a:extLst>
          </p:cNvPr>
          <p:cNvSpPr txBox="1"/>
          <p:nvPr/>
        </p:nvSpPr>
        <p:spPr>
          <a:xfrm>
            <a:off x="165996" y="3256531"/>
            <a:ext cx="2889609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57188" indent="-347663" algn="r" rtl="1">
              <a:buFont typeface="Wingdings" panose="05000000000000000000" pitchFamily="2" charset="2"/>
              <a:buChar char="§"/>
              <a:defRPr sz="1600"/>
            </a:lvl1pPr>
          </a:lstStyle>
          <a:p>
            <a:r>
              <a:rPr lang="ar-TN" dirty="0"/>
              <a:t>لا يمكن</a:t>
            </a:r>
            <a:r>
              <a:rPr lang="ar-SA" altLang="x-none" dirty="0"/>
              <a:t> الصعود</a:t>
            </a:r>
            <a:r>
              <a:rPr lang="ar-TN" dirty="0"/>
              <a:t> في</a:t>
            </a:r>
            <a:r>
              <a:rPr lang="ar-SA" altLang="x-none" dirty="0"/>
              <a:t> </a:t>
            </a:r>
            <a:r>
              <a:rPr lang="ar-TN" dirty="0"/>
              <a:t>وسائل النقل العمومي</a:t>
            </a:r>
            <a:r>
              <a:rPr lang="ar-SA" altLang="x-none" dirty="0"/>
              <a:t> باستثناء </a:t>
            </a:r>
            <a:r>
              <a:rPr lang="ar-TN" dirty="0"/>
              <a:t>الأشخاص المسموح لهم للتنقل للعمل</a:t>
            </a:r>
            <a:r>
              <a:rPr lang="fr-FR" altLang="x-none" dirty="0"/>
              <a:t> </a:t>
            </a:r>
            <a:endParaRPr lang="x-non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D974718C-2F75-4AE3-B8D7-229BD80AC725}"/>
              </a:ext>
            </a:extLst>
          </p:cNvPr>
          <p:cNvSpPr/>
          <p:nvPr/>
        </p:nvSpPr>
        <p:spPr>
          <a:xfrm>
            <a:off x="329920" y="1380368"/>
            <a:ext cx="277270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188" indent="-347663" algn="r" rtl="1">
              <a:buFont typeface="Wingdings" panose="05000000000000000000" pitchFamily="2" charset="2"/>
              <a:buChar char="§"/>
            </a:pPr>
            <a:r>
              <a:rPr lang="ar-TN" sz="1600" dirty="0"/>
              <a:t>ضمان استمرار مرفق نقل نظيف وصحي</a:t>
            </a:r>
            <a:endParaRPr lang="fr-FR" sz="1600" dirty="0"/>
          </a:p>
          <a:p>
            <a:pPr marL="357188" indent="-347663" algn="r" rtl="1">
              <a:buFont typeface="Wingdings" panose="05000000000000000000" pitchFamily="2" charset="2"/>
              <a:buChar char="§"/>
            </a:pPr>
            <a:endParaRPr lang="fr-FR" sz="1600" dirty="0"/>
          </a:p>
          <a:p>
            <a:pPr marL="357188" indent="-347663" algn="r" rtl="1">
              <a:buFont typeface="Wingdings" panose="05000000000000000000" pitchFamily="2" charset="2"/>
              <a:buChar char="§"/>
            </a:pPr>
            <a:r>
              <a:rPr lang="ar-TN" sz="1600" dirty="0"/>
              <a:t>تعقيم وتطهير منتظم ل</a:t>
            </a:r>
            <a:r>
              <a:rPr lang="ar-SA" altLang="x-none" sz="1600" dirty="0"/>
              <a:t>جميع</a:t>
            </a:r>
            <a:r>
              <a:rPr lang="ar-TN" sz="1600" dirty="0"/>
              <a:t> وسائل النقل </a:t>
            </a:r>
          </a:p>
        </p:txBody>
      </p:sp>
      <p:sp>
        <p:nvSpPr>
          <p:cNvPr id="15" name="Doughnut 26">
            <a:extLst>
              <a:ext uri="{FF2B5EF4-FFF2-40B4-BE49-F238E27FC236}">
                <a16:creationId xmlns:a16="http://schemas.microsoft.com/office/drawing/2014/main" xmlns="" id="{DE4FCF19-07C1-4356-841B-F645FEB6A0C9}"/>
              </a:ext>
            </a:extLst>
          </p:cNvPr>
          <p:cNvSpPr>
            <a:spLocks noChangeAspect="1"/>
          </p:cNvSpPr>
          <p:nvPr/>
        </p:nvSpPr>
        <p:spPr>
          <a:xfrm>
            <a:off x="3133580" y="3034087"/>
            <a:ext cx="936000" cy="968108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16" name="Doughnut 27">
            <a:extLst>
              <a:ext uri="{FF2B5EF4-FFF2-40B4-BE49-F238E27FC236}">
                <a16:creationId xmlns:a16="http://schemas.microsoft.com/office/drawing/2014/main" xmlns="" id="{38AD400A-5A15-43F2-BF4A-83181C240823}"/>
              </a:ext>
            </a:extLst>
          </p:cNvPr>
          <p:cNvSpPr>
            <a:spLocks noChangeAspect="1"/>
          </p:cNvSpPr>
          <p:nvPr/>
        </p:nvSpPr>
        <p:spPr>
          <a:xfrm>
            <a:off x="7849076" y="1617350"/>
            <a:ext cx="936000" cy="936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18" name="Doughnut 29">
            <a:extLst>
              <a:ext uri="{FF2B5EF4-FFF2-40B4-BE49-F238E27FC236}">
                <a16:creationId xmlns:a16="http://schemas.microsoft.com/office/drawing/2014/main" xmlns="" id="{3B72C2FC-EC14-411E-BFF7-284DD1B58889}"/>
              </a:ext>
            </a:extLst>
          </p:cNvPr>
          <p:cNvSpPr>
            <a:spLocks noChangeAspect="1"/>
          </p:cNvSpPr>
          <p:nvPr/>
        </p:nvSpPr>
        <p:spPr>
          <a:xfrm>
            <a:off x="3153109" y="1574087"/>
            <a:ext cx="936000" cy="936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21" name="Doughnut 28">
            <a:extLst>
              <a:ext uri="{FF2B5EF4-FFF2-40B4-BE49-F238E27FC236}">
                <a16:creationId xmlns:a16="http://schemas.microsoft.com/office/drawing/2014/main" xmlns="" id="{94894F19-C939-470B-A2EC-F5B971F89E21}"/>
              </a:ext>
            </a:extLst>
          </p:cNvPr>
          <p:cNvSpPr>
            <a:spLocks noChangeAspect="1"/>
          </p:cNvSpPr>
          <p:nvPr/>
        </p:nvSpPr>
        <p:spPr>
          <a:xfrm>
            <a:off x="7849076" y="3034087"/>
            <a:ext cx="936000" cy="936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xmlns="" id="{B8C8C1F4-C067-44AB-A47A-14DEBDFEDC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23161" y="192048"/>
            <a:ext cx="20839" cy="73103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9522" rIns="0" bIns="-952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x-none" altLang="x-none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x-none" altLang="x-non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64DF49B8-B72A-41F5-B58A-8A73017D46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23161" y="192048"/>
            <a:ext cx="20839" cy="73103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9522" rIns="0" bIns="-952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x-none" altLang="x-none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x-none" altLang="x-non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58CA08E9-A44F-4209-BA03-41C53313F7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71074" y="3284618"/>
            <a:ext cx="489766" cy="536364"/>
          </a:xfrm>
          <a:prstGeom prst="rect">
            <a:avLst/>
          </a:prstGeom>
        </p:spPr>
      </p:pic>
      <p:sp>
        <p:nvSpPr>
          <p:cNvPr id="20" name="Rectangle 5">
            <a:extLst>
              <a:ext uri="{FF2B5EF4-FFF2-40B4-BE49-F238E27FC236}">
                <a16:creationId xmlns:a16="http://schemas.microsoft.com/office/drawing/2014/main" xmlns="" id="{216E0BA5-BD9A-4A58-99D0-411C3DDCB5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75561" y="344448"/>
            <a:ext cx="20839" cy="73103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9522" rIns="0" bIns="-952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x-none" altLang="x-none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x-none" altLang="x-non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3" name="Picture 4" descr="Bus Symbol Images, Stock Photos &amp; Vectors | Shutterstock">
            <a:extLst>
              <a:ext uri="{FF2B5EF4-FFF2-40B4-BE49-F238E27FC236}">
                <a16:creationId xmlns:a16="http://schemas.microsoft.com/office/drawing/2014/main" xmlns="" id="{8E1489DE-E023-44D6-ACC7-2A874FDE24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217"/>
          <a:stretch/>
        </p:blipFill>
        <p:spPr bwMode="auto">
          <a:xfrm>
            <a:off x="210240" y="4337673"/>
            <a:ext cx="718280" cy="617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0" descr="Bullet train, metro, metro train, train, transport, transportation ...">
            <a:extLst>
              <a:ext uri="{FF2B5EF4-FFF2-40B4-BE49-F238E27FC236}">
                <a16:creationId xmlns:a16="http://schemas.microsoft.com/office/drawing/2014/main" xmlns="" id="{3E509622-1AAE-4C66-89C0-808965505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567" y="4435992"/>
            <a:ext cx="538040" cy="538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xmlns="" id="{0034BA7F-2CBA-40E5-A9F7-63EA08F980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17477" y="4481711"/>
            <a:ext cx="449137" cy="43978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38227D39-5FD6-0340-814A-B9D2FF6E90EF}"/>
              </a:ext>
            </a:extLst>
          </p:cNvPr>
          <p:cNvSpPr/>
          <p:nvPr/>
        </p:nvSpPr>
        <p:spPr>
          <a:xfrm>
            <a:off x="165996" y="4389751"/>
            <a:ext cx="1943359" cy="6237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6164830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8B1BD91-3771-4095-B128-FBB38285B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700" y="239727"/>
            <a:ext cx="8520600" cy="623700"/>
          </a:xfr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ar-TN" b="1" dirty="0">
                <a:latin typeface="+mj-lt"/>
                <a:cs typeface="+mj-cs"/>
                <a:sym typeface="Arial"/>
              </a:rPr>
              <a:t>أهم المعايير المقترحة من قبل معهد الصحة والسلامة ضمن مشروع كراس الشروط الخاص بالنقل</a:t>
            </a:r>
            <a:endParaRPr lang="fr-FR" b="1" dirty="0">
              <a:latin typeface="+mj-lt"/>
              <a:cs typeface="+mj-cs"/>
              <a:sym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DC11DE4B-ABFC-40C1-A3B7-1A4F4489BF3F}"/>
              </a:ext>
            </a:extLst>
          </p:cNvPr>
          <p:cNvSpPr/>
          <p:nvPr/>
        </p:nvSpPr>
        <p:spPr>
          <a:xfrm>
            <a:off x="7768677" y="1841158"/>
            <a:ext cx="1260000" cy="64612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dirty="0"/>
              <a:t>النقل الفردي </a:t>
            </a:r>
            <a:endParaRPr lang="x-non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8DD4DFD-B08E-45EA-865D-F254F66D732F}"/>
              </a:ext>
            </a:extLst>
          </p:cNvPr>
          <p:cNvSpPr/>
          <p:nvPr/>
        </p:nvSpPr>
        <p:spPr>
          <a:xfrm>
            <a:off x="7768677" y="3492250"/>
            <a:ext cx="1260000" cy="64612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dirty="0"/>
              <a:t>النقل بالوسائل الخاصة للمؤسسة  </a:t>
            </a:r>
            <a:endParaRPr lang="fr-F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F0B1F144-F885-4C30-A402-141FB2E867F6}"/>
              </a:ext>
            </a:extLst>
          </p:cNvPr>
          <p:cNvSpPr/>
          <p:nvPr/>
        </p:nvSpPr>
        <p:spPr>
          <a:xfrm>
            <a:off x="7768677" y="4261550"/>
            <a:ext cx="1260000" cy="64612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dirty="0"/>
              <a:t>النقل العمومي </a:t>
            </a:r>
            <a:endParaRPr lang="x-none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5BF9900A-4BFB-4FB4-A878-EFF3E482304D}"/>
              </a:ext>
            </a:extLst>
          </p:cNvPr>
          <p:cNvSpPr txBox="1"/>
          <p:nvPr/>
        </p:nvSpPr>
        <p:spPr>
          <a:xfrm>
            <a:off x="2492612" y="1913091"/>
            <a:ext cx="51662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algn="r" rtl="1">
              <a:buFontTx/>
              <a:buChar char="-"/>
            </a:pPr>
            <a:r>
              <a:rPr lang="ar-TN" sz="1200" dirty="0"/>
              <a:t>  ضرورة لباس الكمامات </a:t>
            </a:r>
          </a:p>
          <a:p>
            <a:pPr marL="214313" indent="-214313" algn="r" rtl="1">
              <a:buFontTx/>
              <a:buChar char="-"/>
            </a:pPr>
            <a:r>
              <a:rPr lang="ar-TN" sz="1200" dirty="0"/>
              <a:t>لا تتجاوز شخصين لكل عربة  مع تركيب متقاطع (1 أمام / 1 خلف).</a:t>
            </a:r>
          </a:p>
          <a:p>
            <a:pPr marL="214313" indent="-214313" algn="r" rtl="1">
              <a:buFontTx/>
              <a:buChar char="-"/>
            </a:pPr>
            <a:r>
              <a:rPr lang="ar-TN" sz="1200" dirty="0"/>
              <a:t>شخص واحد للمركبات ذات العجلتين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xmlns="" id="{F28A7B8D-41D9-4E26-A131-AF92B0FCFE24}"/>
              </a:ext>
            </a:extLst>
          </p:cNvPr>
          <p:cNvSpPr txBox="1"/>
          <p:nvPr/>
        </p:nvSpPr>
        <p:spPr>
          <a:xfrm>
            <a:off x="2492612" y="3509457"/>
            <a:ext cx="516624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algn="r" rtl="1">
              <a:buFontTx/>
              <a:buChar char="-"/>
            </a:pPr>
            <a:r>
              <a:rPr lang="ar-TN" dirty="0"/>
              <a:t>الامتثال للإشعارات المرسلة في محطات النقل العمومي.</a:t>
            </a:r>
          </a:p>
          <a:p>
            <a:pPr marL="214313" indent="-214313" algn="r" rtl="1">
              <a:buFontTx/>
              <a:buChar char="-"/>
            </a:pPr>
            <a:r>
              <a:rPr lang="ar-TN" dirty="0"/>
              <a:t>الالتزام بارتداء كمامة في وسائل النقل.</a:t>
            </a:r>
          </a:p>
          <a:p>
            <a:pPr marL="214313" indent="-214313" algn="r" rtl="1">
              <a:buFontTx/>
              <a:buChar char="-"/>
            </a:pPr>
            <a:r>
              <a:rPr lang="ar-TN" dirty="0"/>
              <a:t>تقليل عدد الركاب بوسيلة النقل إلى النصف مع مراعاة المناطق المخصصة للوقوف أو الجلوس داخل العربة</a:t>
            </a:r>
          </a:p>
          <a:p>
            <a:pPr marL="214313" indent="-214313" algn="r" rtl="1">
              <a:buFontTx/>
              <a:buChar char="-"/>
            </a:pPr>
            <a:r>
              <a:rPr lang="ar-TN" dirty="0"/>
              <a:t>احترم مسافة متر واحد على الأقل بين الركاب داخل وسيلة النقل العمومي</a:t>
            </a:r>
            <a:endParaRPr lang="fr-FR" dirty="0"/>
          </a:p>
          <a:p>
            <a:pPr marL="214313" indent="-214313" algn="r" rtl="1">
              <a:buFontTx/>
              <a:buChar char="-"/>
            </a:pPr>
            <a:r>
              <a:rPr lang="ar-TN" kern="1200" dirty="0">
                <a:solidFill>
                  <a:schemeClr val="tx1"/>
                </a:solidFill>
              </a:rPr>
              <a:t>تطهير منتظم لوسائل النقل </a:t>
            </a:r>
            <a:endParaRPr lang="ar-TN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A51844A1-65B8-A046-9501-1ED066E1E3CA}"/>
              </a:ext>
            </a:extLst>
          </p:cNvPr>
          <p:cNvSpPr/>
          <p:nvPr/>
        </p:nvSpPr>
        <p:spPr>
          <a:xfrm>
            <a:off x="269277" y="2490261"/>
            <a:ext cx="194335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/>
            <a:endParaRPr lang="x-none" sz="1800" dirty="0"/>
          </a:p>
          <a:p>
            <a:pPr algn="ctr" rtl="1"/>
            <a:r>
              <a:rPr lang="ar-TN" sz="1800" b="1" dirty="0"/>
              <a:t> وجوب الاستظهار بالتصاريح  أو استمارات التصريح على الشرف</a:t>
            </a:r>
            <a:r>
              <a:rPr lang="ar-SA" sz="1800" dirty="0"/>
              <a:t> </a:t>
            </a:r>
            <a:endParaRPr lang="en-GB" sz="1800" dirty="0"/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xmlns="" id="{15E81206-7FA6-4DD2-BAFC-87A5EDC361D3}"/>
              </a:ext>
            </a:extLst>
          </p:cNvPr>
          <p:cNvSpPr txBox="1"/>
          <p:nvPr/>
        </p:nvSpPr>
        <p:spPr>
          <a:xfrm>
            <a:off x="2408999" y="2602517"/>
            <a:ext cx="52498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algn="r" rtl="1">
              <a:buFontTx/>
              <a:buChar char="-"/>
            </a:pPr>
            <a:r>
              <a:rPr lang="ar-TN" sz="1200" dirty="0"/>
              <a:t>  ضرورة لباس الكمامات </a:t>
            </a:r>
          </a:p>
          <a:p>
            <a:pPr marL="214313" indent="-214313" algn="r" rtl="1">
              <a:buFontTx/>
              <a:buChar char="-"/>
            </a:pPr>
            <a:r>
              <a:rPr lang="ar-TN" sz="1200" dirty="0"/>
              <a:t>لا تتجاوز شخصين لكل عربة  مع تركيب متقاطع (1 أمام / 1 خلف)</a:t>
            </a:r>
            <a:r>
              <a:rPr lang="fr-FR" sz="1200" dirty="0"/>
              <a:t> </a:t>
            </a:r>
            <a:r>
              <a:rPr lang="ar-TN" sz="1200" dirty="0"/>
              <a:t>في وسائل </a:t>
            </a:r>
            <a:r>
              <a:rPr lang="ar-AE" sz="1200" dirty="0"/>
              <a:t>التاكسي</a:t>
            </a:r>
            <a:r>
              <a:rPr lang="ar-TN" sz="1200" dirty="0"/>
              <a:t> الفردي</a:t>
            </a:r>
            <a:r>
              <a:rPr lang="ar-AE" sz="1200" dirty="0"/>
              <a:t> </a:t>
            </a:r>
            <a:endParaRPr lang="fr-FR" sz="1200" dirty="0"/>
          </a:p>
          <a:p>
            <a:pPr marL="214313" indent="-214313" algn="r" rtl="1">
              <a:buFontTx/>
              <a:buChar char="-"/>
            </a:pPr>
            <a:r>
              <a:rPr lang="ar-TN" sz="1200" dirty="0"/>
              <a:t>تخفيض عدد الركاب بوسيلة النقل إلى النصف في وسائل </a:t>
            </a:r>
            <a:r>
              <a:rPr lang="ar-AE" sz="1200" dirty="0"/>
              <a:t>التاكسي الجماعي</a:t>
            </a:r>
            <a:endParaRPr lang="ar-TN" sz="1200" dirty="0"/>
          </a:p>
          <a:p>
            <a:pPr marL="214313" indent="-214313" algn="r" rtl="1">
              <a:buFontTx/>
              <a:buChar char="-"/>
            </a:pPr>
            <a:r>
              <a:rPr lang="ar-TN" sz="1200" kern="1200" dirty="0">
                <a:solidFill>
                  <a:schemeClr val="tx1"/>
                </a:solidFill>
              </a:rPr>
              <a:t>تطهير منتظم لوسائل النقل </a:t>
            </a:r>
            <a:endParaRPr lang="ar-TN" sz="1200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DE3260F7-F678-417A-B95B-AD15EE9FD672}"/>
              </a:ext>
            </a:extLst>
          </p:cNvPr>
          <p:cNvSpPr/>
          <p:nvPr/>
        </p:nvSpPr>
        <p:spPr>
          <a:xfrm>
            <a:off x="7768677" y="2677386"/>
            <a:ext cx="1260000" cy="64612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sz="1200" dirty="0"/>
              <a:t> التاكسي الفردي </a:t>
            </a:r>
            <a:endParaRPr lang="fr-FR" sz="1200" dirty="0"/>
          </a:p>
          <a:p>
            <a:pPr algn="ctr"/>
            <a:r>
              <a:rPr lang="fr-FR" sz="1200" dirty="0"/>
              <a:t>/</a:t>
            </a:r>
          </a:p>
          <a:p>
            <a:pPr algn="ctr"/>
            <a:r>
              <a:rPr lang="ar-AE" sz="1200" dirty="0"/>
              <a:t> التاكسي الجماعي</a:t>
            </a:r>
          </a:p>
        </p:txBody>
      </p:sp>
      <p:pic>
        <p:nvPicPr>
          <p:cNvPr id="63" name="Graphic 28" descr="Warning">
            <a:extLst>
              <a:ext uri="{FF2B5EF4-FFF2-40B4-BE49-F238E27FC236}">
                <a16:creationId xmlns:a16="http://schemas.microsoft.com/office/drawing/2014/main" xmlns="" id="{12FBB112-277B-4AF8-A53E-F1374F3DD7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65669" y="2005728"/>
            <a:ext cx="754453" cy="754453"/>
          </a:xfrm>
          <a:prstGeom prst="rect">
            <a:avLst/>
          </a:prstGeom>
        </p:spPr>
      </p:pic>
      <p:pic>
        <p:nvPicPr>
          <p:cNvPr id="17" name="Picture 4" descr="Bus Symbol Images, Stock Photos &amp; Vectors | Shutterstock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217"/>
          <a:stretch/>
        </p:blipFill>
        <p:spPr bwMode="auto">
          <a:xfrm>
            <a:off x="166256" y="4310888"/>
            <a:ext cx="718280" cy="617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0" descr="Bullet train, metro, metro train, train, transport, transportation ...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669" y="4389996"/>
            <a:ext cx="538040" cy="538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8" descr="Icône statistiqu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5139" y="4430019"/>
            <a:ext cx="457992" cy="457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0B49D3D7-D891-4F4D-B67B-CF31E0944DDB}"/>
              </a:ext>
            </a:extLst>
          </p:cNvPr>
          <p:cNvSpPr/>
          <p:nvPr/>
        </p:nvSpPr>
        <p:spPr>
          <a:xfrm>
            <a:off x="165996" y="4389751"/>
            <a:ext cx="1943359" cy="6237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cxnSp>
        <p:nvCxnSpPr>
          <p:cNvPr id="22" name="Connecteur droit 12">
            <a:extLst>
              <a:ext uri="{FF2B5EF4-FFF2-40B4-BE49-F238E27FC236}">
                <a16:creationId xmlns:a16="http://schemas.microsoft.com/office/drawing/2014/main" xmlns="" id="{99980EF9-3B52-A042-A06A-E79A8485C9B4}"/>
              </a:ext>
            </a:extLst>
          </p:cNvPr>
          <p:cNvCxnSpPr>
            <a:cxnSpLocks/>
          </p:cNvCxnSpPr>
          <p:nvPr/>
        </p:nvCxnSpPr>
        <p:spPr>
          <a:xfrm>
            <a:off x="2408999" y="3402747"/>
            <a:ext cx="6619678" cy="2117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12">
            <a:extLst>
              <a:ext uri="{FF2B5EF4-FFF2-40B4-BE49-F238E27FC236}">
                <a16:creationId xmlns:a16="http://schemas.microsoft.com/office/drawing/2014/main" xmlns="" id="{DB2231B1-95BA-5B48-890C-C1E3B3831B56}"/>
              </a:ext>
            </a:extLst>
          </p:cNvPr>
          <p:cNvCxnSpPr>
            <a:cxnSpLocks/>
          </p:cNvCxnSpPr>
          <p:nvPr/>
        </p:nvCxnSpPr>
        <p:spPr>
          <a:xfrm>
            <a:off x="2408999" y="2571750"/>
            <a:ext cx="6619678" cy="27940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31894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8A7C11D-B128-5D41-8D8D-6497D7AC2B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1700" y="2121425"/>
            <a:ext cx="8554898" cy="942600"/>
          </a:xfrm>
          <a:noFill/>
          <a:ln>
            <a:noFill/>
          </a:ln>
        </p:spPr>
        <p:txBody>
          <a:bodyPr spcFirstLastPara="1" vert="horz" wrap="square" lIns="68580" tIns="34290" rIns="68580" bIns="34290" rtlCol="0" anchor="ctr" anchorCtr="0">
            <a:normAutofit fontScale="82500" lnSpcReduction="20000"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Clr>
                <a:srgbClr val="000000"/>
              </a:buClr>
              <a:buSzPts val="10000"/>
              <a:buNone/>
            </a:pPr>
            <a:r>
              <a:rPr lang="ar-TN" sz="8800" b="1" kern="1200" dirty="0">
                <a:solidFill>
                  <a:schemeClr val="bg1"/>
                </a:solidFill>
              </a:rPr>
              <a:t>المراقبة و المتابعة </a:t>
            </a:r>
            <a:endParaRPr lang="x-none" sz="8800" b="1" kern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749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11725" y="382939"/>
            <a:ext cx="8520600" cy="623700"/>
          </a:xfrm>
        </p:spPr>
        <p:txBody>
          <a:bodyPr/>
          <a:lstStyle/>
          <a:p>
            <a:pPr algn="ctr"/>
            <a:r>
              <a:rPr lang="ar-TN" dirty="0"/>
              <a:t>مبادئ </a:t>
            </a:r>
            <a:r>
              <a:rPr lang="ar-TN" dirty="0" err="1"/>
              <a:t>الحوكمة</a:t>
            </a:r>
            <a:r>
              <a:rPr lang="ar-TN" dirty="0"/>
              <a:t> الاستراتيجية </a:t>
            </a:r>
            <a:endParaRPr lang="fr-FR" dirty="0"/>
          </a:p>
        </p:txBody>
      </p:sp>
      <p:graphicFrame>
        <p:nvGraphicFramePr>
          <p:cNvPr id="5" name="Diagramme 4"/>
          <p:cNvGraphicFramePr/>
          <p:nvPr/>
        </p:nvGraphicFramePr>
        <p:xfrm>
          <a:off x="452259" y="1124625"/>
          <a:ext cx="8380016" cy="38751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xmlns="" id="{1B8B3918-382C-E64A-A51E-31A399BE6332}"/>
              </a:ext>
            </a:extLst>
          </p:cNvPr>
          <p:cNvSpPr/>
          <p:nvPr/>
        </p:nvSpPr>
        <p:spPr>
          <a:xfrm>
            <a:off x="8318091" y="1219199"/>
            <a:ext cx="176980" cy="12545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375EDD0F-CB55-E649-A2CA-D826A21E5461}"/>
              </a:ext>
            </a:extLst>
          </p:cNvPr>
          <p:cNvSpPr/>
          <p:nvPr/>
        </p:nvSpPr>
        <p:spPr>
          <a:xfrm>
            <a:off x="2944762" y="1252433"/>
            <a:ext cx="176980" cy="12545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D89C54CA-D98C-ED4B-A030-2E1B7523A1D0}"/>
              </a:ext>
            </a:extLst>
          </p:cNvPr>
          <p:cNvSpPr/>
          <p:nvPr/>
        </p:nvSpPr>
        <p:spPr>
          <a:xfrm>
            <a:off x="2944762" y="4138200"/>
            <a:ext cx="176980" cy="12545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DC782C56-A8B9-1448-8833-5239D72DF700}"/>
              </a:ext>
            </a:extLst>
          </p:cNvPr>
          <p:cNvSpPr/>
          <p:nvPr/>
        </p:nvSpPr>
        <p:spPr>
          <a:xfrm>
            <a:off x="3097162" y="4290600"/>
            <a:ext cx="176980" cy="12545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8FA71154-45FE-D144-9ADB-3086A8AB2764}"/>
              </a:ext>
            </a:extLst>
          </p:cNvPr>
          <p:cNvSpPr/>
          <p:nvPr/>
        </p:nvSpPr>
        <p:spPr>
          <a:xfrm>
            <a:off x="8347588" y="4138200"/>
            <a:ext cx="176980" cy="12545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5945707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46;p2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en-US" b="1" dirty="0" err="1">
                <a:sym typeface="Times New Roman"/>
              </a:rPr>
              <a:t>المراقبة</a:t>
            </a:r>
            <a:r>
              <a:rPr lang="en-US" b="1" dirty="0">
                <a:sym typeface="Times New Roman"/>
              </a:rPr>
              <a:t> </a:t>
            </a:r>
            <a:r>
              <a:rPr lang="en-US" b="1" dirty="0" err="1">
                <a:sym typeface="Times New Roman"/>
              </a:rPr>
              <a:t>و</a:t>
            </a:r>
            <a:r>
              <a:rPr lang="en-US" b="1" dirty="0">
                <a:sym typeface="Times New Roman"/>
              </a:rPr>
              <a:t> </a:t>
            </a:r>
            <a:r>
              <a:rPr lang="en-US" b="1" dirty="0" err="1">
                <a:sym typeface="Times New Roman"/>
              </a:rPr>
              <a:t>المتابعة</a:t>
            </a:r>
            <a:r>
              <a:rPr lang="en-US" b="1" dirty="0">
                <a:sym typeface="Times New Roman"/>
              </a:rPr>
              <a:t> </a:t>
            </a:r>
            <a:endParaRPr b="1" dirty="0"/>
          </a:p>
        </p:txBody>
      </p:sp>
      <p:graphicFrame>
        <p:nvGraphicFramePr>
          <p:cNvPr id="6" name="Diagramme 5"/>
          <p:cNvGraphicFramePr/>
          <p:nvPr/>
        </p:nvGraphicFramePr>
        <p:xfrm>
          <a:off x="467067" y="1053466"/>
          <a:ext cx="8130923" cy="40700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ZoneTexte 6"/>
          <p:cNvSpPr txBox="1"/>
          <p:nvPr/>
        </p:nvSpPr>
        <p:spPr>
          <a:xfrm>
            <a:off x="2105306" y="1485114"/>
            <a:ext cx="10508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TN" sz="1600" b="1" dirty="0">
                <a:solidFill>
                  <a:schemeClr val="bg1"/>
                </a:solidFill>
              </a:rPr>
              <a:t>الاليات المؤسساتية العمودية 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5919019" y="3853857"/>
            <a:ext cx="9851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TN" sz="1600" b="1" dirty="0">
                <a:solidFill>
                  <a:schemeClr val="bg1"/>
                </a:solidFill>
              </a:rPr>
              <a:t>الاليات التشاركية الافقية </a:t>
            </a:r>
            <a:endParaRPr lang="fr-FR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3763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TN" dirty="0"/>
              <a:t>المراقبة و المتابعة</a:t>
            </a:r>
            <a:endParaRPr lang="fr-FR" dirty="0"/>
          </a:p>
        </p:txBody>
      </p:sp>
      <p:sp>
        <p:nvSpPr>
          <p:cNvPr id="5" name="Losange 4"/>
          <p:cNvSpPr/>
          <p:nvPr/>
        </p:nvSpPr>
        <p:spPr>
          <a:xfrm>
            <a:off x="6468741" y="1765417"/>
            <a:ext cx="1080000" cy="1080000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ZoneTexte 5"/>
          <p:cNvSpPr txBox="1"/>
          <p:nvPr/>
        </p:nvSpPr>
        <p:spPr>
          <a:xfrm>
            <a:off x="6356987" y="1982252"/>
            <a:ext cx="13035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TN" sz="1800" dirty="0">
                <a:solidFill>
                  <a:schemeClr val="bg1"/>
                </a:solidFill>
              </a:rPr>
              <a:t>المراقبة المباشرة</a:t>
            </a:r>
            <a:endParaRPr lang="fr-FR" sz="1800" dirty="0">
              <a:solidFill>
                <a:schemeClr val="bg1"/>
              </a:solidFill>
            </a:endParaRPr>
          </a:p>
        </p:txBody>
      </p:sp>
      <p:cxnSp>
        <p:nvCxnSpPr>
          <p:cNvPr id="8" name="Connecteur droit 7"/>
          <p:cNvCxnSpPr>
            <a:stCxn id="5" idx="2"/>
          </p:cNvCxnSpPr>
          <p:nvPr/>
        </p:nvCxnSpPr>
        <p:spPr>
          <a:xfrm flipH="1">
            <a:off x="7008740" y="2845417"/>
            <a:ext cx="1" cy="10845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lipse 9"/>
          <p:cNvSpPr/>
          <p:nvPr/>
        </p:nvSpPr>
        <p:spPr>
          <a:xfrm>
            <a:off x="6690139" y="3929974"/>
            <a:ext cx="637201" cy="651754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/>
          <p:cNvSpPr txBox="1"/>
          <p:nvPr/>
        </p:nvSpPr>
        <p:spPr>
          <a:xfrm>
            <a:off x="6896987" y="3056713"/>
            <a:ext cx="13035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TN" sz="1800" dirty="0">
                <a:solidFill>
                  <a:schemeClr val="tx1"/>
                </a:solidFill>
              </a:rPr>
              <a:t>المؤسسات الملتزمة</a:t>
            </a:r>
            <a:endParaRPr lang="fr-FR" sz="1800" dirty="0">
              <a:solidFill>
                <a:schemeClr val="tx1"/>
              </a:solidFill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4296406" y="1894035"/>
            <a:ext cx="2284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TN" sz="1800" b="1" dirty="0">
                <a:solidFill>
                  <a:schemeClr val="tx1"/>
                </a:solidFill>
              </a:rPr>
              <a:t>المؤسسات غير الملتزمة</a:t>
            </a:r>
            <a:endParaRPr lang="fr-FR" sz="1800" b="1" dirty="0">
              <a:solidFill>
                <a:schemeClr val="tx1"/>
              </a:solidFill>
            </a:endParaRPr>
          </a:p>
        </p:txBody>
      </p:sp>
      <p:cxnSp>
        <p:nvCxnSpPr>
          <p:cNvPr id="14" name="Connecteur droit 13"/>
          <p:cNvCxnSpPr/>
          <p:nvPr/>
        </p:nvCxnSpPr>
        <p:spPr>
          <a:xfrm flipH="1">
            <a:off x="4280171" y="2305417"/>
            <a:ext cx="240996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Losange 14"/>
          <p:cNvSpPr/>
          <p:nvPr/>
        </p:nvSpPr>
        <p:spPr>
          <a:xfrm>
            <a:off x="3200170" y="1765417"/>
            <a:ext cx="1080000" cy="1080000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ZoneTexte 15"/>
          <p:cNvSpPr txBox="1"/>
          <p:nvPr/>
        </p:nvSpPr>
        <p:spPr>
          <a:xfrm>
            <a:off x="3088417" y="1982252"/>
            <a:ext cx="13035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TN" sz="1800" dirty="0">
                <a:solidFill>
                  <a:schemeClr val="bg1"/>
                </a:solidFill>
              </a:rPr>
              <a:t>رفع تقرير</a:t>
            </a:r>
          </a:p>
          <a:p>
            <a:pPr algn="ctr"/>
            <a:r>
              <a:rPr lang="ar-TN" sz="1800" dirty="0">
                <a:solidFill>
                  <a:schemeClr val="bg1"/>
                </a:solidFill>
              </a:rPr>
              <a:t>مخالفة</a:t>
            </a:r>
            <a:endParaRPr lang="fr-FR" sz="1800" dirty="0">
              <a:solidFill>
                <a:schemeClr val="bg1"/>
              </a:solidFill>
            </a:endParaRPr>
          </a:p>
        </p:txBody>
      </p:sp>
      <p:cxnSp>
        <p:nvCxnSpPr>
          <p:cNvPr id="29" name="Connecteur droit 28"/>
          <p:cNvCxnSpPr/>
          <p:nvPr/>
        </p:nvCxnSpPr>
        <p:spPr>
          <a:xfrm flipH="1">
            <a:off x="1371600" y="2305416"/>
            <a:ext cx="1951162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Losange 30"/>
          <p:cNvSpPr/>
          <p:nvPr/>
        </p:nvSpPr>
        <p:spPr>
          <a:xfrm>
            <a:off x="262377" y="1765416"/>
            <a:ext cx="1080000" cy="1080000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ZoneTexte 31"/>
          <p:cNvSpPr txBox="1"/>
          <p:nvPr/>
        </p:nvSpPr>
        <p:spPr>
          <a:xfrm>
            <a:off x="175077" y="1986002"/>
            <a:ext cx="13035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TN" sz="1800" dirty="0">
                <a:solidFill>
                  <a:schemeClr val="bg1"/>
                </a:solidFill>
              </a:rPr>
              <a:t>اصدار العقوبات</a:t>
            </a:r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33" name="ZoneTexte 32"/>
          <p:cNvSpPr txBox="1"/>
          <p:nvPr/>
        </p:nvSpPr>
        <p:spPr>
          <a:xfrm>
            <a:off x="1123353" y="1891976"/>
            <a:ext cx="2284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TN" sz="1800" b="1" dirty="0">
                <a:solidFill>
                  <a:schemeClr val="tx1"/>
                </a:solidFill>
              </a:rPr>
              <a:t>المؤسسات غير الملتزمة</a:t>
            </a:r>
            <a:endParaRPr lang="fr-FR" sz="1800" b="1" dirty="0">
              <a:solidFill>
                <a:schemeClr val="tx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7380537" y="1777634"/>
            <a:ext cx="163991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dirty="0"/>
              <a:t>تفقدية الشغل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dirty="0"/>
              <a:t> تفقدية طب الشغل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dirty="0"/>
              <a:t> الشرطة البيئية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dirty="0"/>
              <a:t>إدارات حفظ الصحة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endParaRPr lang="fr-FR" dirty="0"/>
          </a:p>
        </p:txBody>
      </p:sp>
      <p:sp>
        <p:nvSpPr>
          <p:cNvPr id="35" name="Rectangle 34"/>
          <p:cNvSpPr/>
          <p:nvPr/>
        </p:nvSpPr>
        <p:spPr>
          <a:xfrm>
            <a:off x="3524035" y="2586532"/>
            <a:ext cx="163991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dirty="0"/>
              <a:t>تفقدية الشغل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dirty="0"/>
              <a:t> تفقدية طب الشغل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dirty="0"/>
              <a:t>الشرطة البيئية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dirty="0"/>
              <a:t>إدارات حفظ الصحة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endParaRPr lang="fr-FR" dirty="0"/>
          </a:p>
        </p:txBody>
      </p:sp>
      <p:sp>
        <p:nvSpPr>
          <p:cNvPr id="36" name="Rectangle 35"/>
          <p:cNvSpPr/>
          <p:nvPr/>
        </p:nvSpPr>
        <p:spPr>
          <a:xfrm>
            <a:off x="-161329" y="2864478"/>
            <a:ext cx="163991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dirty="0"/>
              <a:t>المجالس البلدية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dirty="0"/>
              <a:t>الوالي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987338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5"/>
          <p:cNvSpPr txBox="1">
            <a:spLocks noGrp="1"/>
          </p:cNvSpPr>
          <p:nvPr>
            <p:ph type="title"/>
          </p:nvPr>
        </p:nvSpPr>
        <p:spPr>
          <a:xfrm>
            <a:off x="311150" y="53975"/>
            <a:ext cx="8521700" cy="6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rtl="1"/>
            <a:r>
              <a:rPr lang="ar-TN" sz="4800" dirty="0"/>
              <a:t>المبادئ</a:t>
            </a:r>
            <a:endParaRPr dirty="0"/>
          </a:p>
        </p:txBody>
      </p:sp>
      <p:sp>
        <p:nvSpPr>
          <p:cNvPr id="2" name="Pentagone 1"/>
          <p:cNvSpPr/>
          <p:nvPr/>
        </p:nvSpPr>
        <p:spPr>
          <a:xfrm rot="10800000">
            <a:off x="7470385" y="1209501"/>
            <a:ext cx="1206230" cy="642025"/>
          </a:xfrm>
          <a:prstGeom prst="homePlate">
            <a:avLst>
              <a:gd name="adj" fmla="val 3181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7" name="Groupe 6"/>
          <p:cNvGrpSpPr/>
          <p:nvPr/>
        </p:nvGrpSpPr>
        <p:grpSpPr>
          <a:xfrm>
            <a:off x="7538934" y="1334487"/>
            <a:ext cx="1069132" cy="392052"/>
            <a:chOff x="1713024" y="2079609"/>
            <a:chExt cx="1826978" cy="718442"/>
          </a:xfrm>
        </p:grpSpPr>
        <p:sp>
          <p:nvSpPr>
            <p:cNvPr id="8" name="Rectangle 7"/>
            <p:cNvSpPr/>
            <p:nvPr/>
          </p:nvSpPr>
          <p:spPr>
            <a:xfrm>
              <a:off x="1713024" y="2079609"/>
              <a:ext cx="1826978" cy="718442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ZoneTexte 8"/>
            <p:cNvSpPr txBox="1"/>
            <p:nvPr/>
          </p:nvSpPr>
          <p:spPr>
            <a:xfrm>
              <a:off x="1713024" y="2079609"/>
              <a:ext cx="1826978" cy="7184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ctr"/>
              <a:r>
                <a:rPr lang="ar-TN" sz="1600" b="1" dirty="0">
                  <a:solidFill>
                    <a:schemeClr val="bg1"/>
                  </a:solidFill>
                </a:rPr>
                <a:t>أولوية الصحة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" name="ZoneTexte 3"/>
          <p:cNvSpPr txBox="1"/>
          <p:nvPr/>
        </p:nvSpPr>
        <p:spPr>
          <a:xfrm>
            <a:off x="618371" y="1310576"/>
            <a:ext cx="6482366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lvl="0" indent="-285750" algn="r" rtl="1">
              <a:buFont typeface="Wingdings" panose="05000000000000000000" pitchFamily="2" charset="2"/>
              <a:buChar char="§"/>
            </a:pPr>
            <a:r>
              <a:rPr lang="ar-TN" sz="1600" dirty="0">
                <a:solidFill>
                  <a:schemeClr val="tx1"/>
                </a:solidFill>
              </a:rPr>
              <a:t> المبدأ الأساسي هو الحفاظ على الصحة العامة و سلامة العمال والموظفين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14" name="Pentagone 13"/>
          <p:cNvSpPr/>
          <p:nvPr/>
        </p:nvSpPr>
        <p:spPr>
          <a:xfrm rot="10800000">
            <a:off x="7470385" y="2051238"/>
            <a:ext cx="1206230" cy="642025"/>
          </a:xfrm>
          <a:prstGeom prst="homePlate">
            <a:avLst>
              <a:gd name="adj" fmla="val 3181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e 14"/>
          <p:cNvGrpSpPr/>
          <p:nvPr/>
        </p:nvGrpSpPr>
        <p:grpSpPr>
          <a:xfrm>
            <a:off x="7518794" y="2164583"/>
            <a:ext cx="1109411" cy="460425"/>
            <a:chOff x="1713024" y="1954314"/>
            <a:chExt cx="1895808" cy="843737"/>
          </a:xfrm>
        </p:grpSpPr>
        <p:sp>
          <p:nvSpPr>
            <p:cNvPr id="16" name="Rectangle 15"/>
            <p:cNvSpPr/>
            <p:nvPr/>
          </p:nvSpPr>
          <p:spPr>
            <a:xfrm>
              <a:off x="1713024" y="2079609"/>
              <a:ext cx="1826978" cy="718442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ZoneTexte 16"/>
            <p:cNvSpPr txBox="1"/>
            <p:nvPr/>
          </p:nvSpPr>
          <p:spPr>
            <a:xfrm>
              <a:off x="1781854" y="1954314"/>
              <a:ext cx="1826978" cy="7184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1" algn="r" defTabSz="711200" rtl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ar-TN" b="1" dirty="0">
                  <a:solidFill>
                    <a:schemeClr val="bg1"/>
                  </a:solidFill>
                </a:rPr>
                <a:t>مواصلة الحجر الصحي</a:t>
              </a:r>
              <a:endParaRPr lang="ar-TN" kern="1200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ZoneTexte 17"/>
          <p:cNvSpPr txBox="1"/>
          <p:nvPr/>
        </p:nvSpPr>
        <p:spPr>
          <a:xfrm>
            <a:off x="618371" y="2167845"/>
            <a:ext cx="6482366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sz="1600" dirty="0">
                <a:solidFill>
                  <a:schemeClr val="tx1"/>
                </a:solidFill>
              </a:rPr>
              <a:t>لا يعني الحجر الصحي الموجه انتهاء مخاطر الفيروس بل تعايش مدروس وحذر</a:t>
            </a:r>
            <a:endParaRPr lang="fr-FR" sz="1600" dirty="0"/>
          </a:p>
        </p:txBody>
      </p:sp>
      <p:sp>
        <p:nvSpPr>
          <p:cNvPr id="20" name="Pentagone 19"/>
          <p:cNvSpPr/>
          <p:nvPr/>
        </p:nvSpPr>
        <p:spPr>
          <a:xfrm rot="10800000">
            <a:off x="7470385" y="2927702"/>
            <a:ext cx="1206230" cy="642025"/>
          </a:xfrm>
          <a:prstGeom prst="homePlate">
            <a:avLst>
              <a:gd name="adj" fmla="val 3181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1" name="Groupe 20"/>
          <p:cNvGrpSpPr/>
          <p:nvPr/>
        </p:nvGrpSpPr>
        <p:grpSpPr>
          <a:xfrm>
            <a:off x="7538934" y="3052688"/>
            <a:ext cx="1069132" cy="392052"/>
            <a:chOff x="1713024" y="2079609"/>
            <a:chExt cx="1826978" cy="718442"/>
          </a:xfrm>
        </p:grpSpPr>
        <p:sp>
          <p:nvSpPr>
            <p:cNvPr id="22" name="Rectangle 21"/>
            <p:cNvSpPr/>
            <p:nvPr/>
          </p:nvSpPr>
          <p:spPr>
            <a:xfrm>
              <a:off x="1713024" y="2079609"/>
              <a:ext cx="1826978" cy="718442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3" name="ZoneTexte 22"/>
            <p:cNvSpPr txBox="1"/>
            <p:nvPr/>
          </p:nvSpPr>
          <p:spPr>
            <a:xfrm>
              <a:off x="1713024" y="2079609"/>
              <a:ext cx="1826978" cy="7184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1" algn="r" defTabSz="711200" rtl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ar-TN" b="1" dirty="0">
                  <a:solidFill>
                    <a:schemeClr val="bg1"/>
                  </a:solidFill>
                  <a:latin typeface="Helvetica" pitchFamily="2" charset="0"/>
                </a:rPr>
                <a:t>مبدأ المسؤولية المواطنية</a:t>
              </a:r>
              <a:endParaRPr lang="ar-TN" kern="1200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4" name="ZoneTexte 23"/>
          <p:cNvSpPr txBox="1"/>
          <p:nvPr/>
        </p:nvSpPr>
        <p:spPr>
          <a:xfrm>
            <a:off x="1076707" y="2966930"/>
            <a:ext cx="6482366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742950" indent="-285750" algn="just" rtl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ar-TN" sz="1600" dirty="0">
                <a:latin typeface="Helvetica" pitchFamily="2" charset="0"/>
                <a:cs typeface="Arial" panose="020B0604020202020204" pitchFamily="34" charset="0"/>
              </a:rPr>
              <a:t> ضرورة مشاركة جميع الأطراف المعنية في إنجاح الحجر الصحي الموجه وفي إقرار الرقابة الذاتية والمؤسساتية والمجتمعية</a:t>
            </a:r>
          </a:p>
        </p:txBody>
      </p:sp>
      <p:cxnSp>
        <p:nvCxnSpPr>
          <p:cNvPr id="13" name="Connecteur droit 12"/>
          <p:cNvCxnSpPr/>
          <p:nvPr/>
        </p:nvCxnSpPr>
        <p:spPr>
          <a:xfrm>
            <a:off x="524701" y="1927860"/>
            <a:ext cx="8151914" cy="2030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/>
          <p:cNvCxnSpPr/>
          <p:nvPr/>
        </p:nvCxnSpPr>
        <p:spPr>
          <a:xfrm>
            <a:off x="524701" y="2787667"/>
            <a:ext cx="8151914" cy="2030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/>
          <p:cNvCxnSpPr/>
          <p:nvPr/>
        </p:nvCxnSpPr>
        <p:spPr>
          <a:xfrm>
            <a:off x="524701" y="3689457"/>
            <a:ext cx="8151914" cy="2030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Pentagone 30"/>
          <p:cNvSpPr/>
          <p:nvPr/>
        </p:nvSpPr>
        <p:spPr>
          <a:xfrm rot="10800000">
            <a:off x="7470385" y="3854726"/>
            <a:ext cx="1206230" cy="642025"/>
          </a:xfrm>
          <a:prstGeom prst="homePlate">
            <a:avLst>
              <a:gd name="adj" fmla="val 3181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32" name="Groupe 31"/>
          <p:cNvGrpSpPr/>
          <p:nvPr/>
        </p:nvGrpSpPr>
        <p:grpSpPr>
          <a:xfrm>
            <a:off x="7470385" y="3967512"/>
            <a:ext cx="1137681" cy="411565"/>
            <a:chOff x="1595885" y="2043851"/>
            <a:chExt cx="1944117" cy="754200"/>
          </a:xfrm>
        </p:grpSpPr>
        <p:sp>
          <p:nvSpPr>
            <p:cNvPr id="33" name="Rectangle 32"/>
            <p:cNvSpPr/>
            <p:nvPr/>
          </p:nvSpPr>
          <p:spPr>
            <a:xfrm>
              <a:off x="1713024" y="2079609"/>
              <a:ext cx="1826978" cy="718442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4" name="ZoneTexte 33"/>
            <p:cNvSpPr txBox="1"/>
            <p:nvPr/>
          </p:nvSpPr>
          <p:spPr>
            <a:xfrm>
              <a:off x="1595885" y="2043851"/>
              <a:ext cx="1826978" cy="7184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r" rtl="1"/>
              <a:r>
                <a:rPr lang="ar-TN" b="1" dirty="0">
                  <a:solidFill>
                    <a:schemeClr val="bg1"/>
                  </a:solidFill>
                  <a:latin typeface="Helvetica" pitchFamily="2" charset="0"/>
                </a:rPr>
                <a:t>مبدأ التدرج و النسبية</a:t>
              </a:r>
              <a:endParaRPr lang="fr-FR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5" name="ZoneTexte 34"/>
          <p:cNvSpPr txBox="1"/>
          <p:nvPr/>
        </p:nvSpPr>
        <p:spPr>
          <a:xfrm>
            <a:off x="1076707" y="3781386"/>
            <a:ext cx="6482366" cy="90794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742950" indent="-285750" algn="just" rtl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ar-TN" sz="1600" dirty="0">
                <a:latin typeface="Helvetica" pitchFamily="2" charset="0"/>
                <a:cs typeface="Arial" panose="020B0604020202020204" pitchFamily="34" charset="0"/>
              </a:rPr>
              <a:t>رفع الحجر بالنسبة للأفراد والذوات المعنوية بناء على قائمات ومراحل متتالية</a:t>
            </a:r>
          </a:p>
          <a:p>
            <a:pPr marL="742950" indent="-285750" algn="just" rtl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ar-TN" sz="1600" dirty="0">
                <a:latin typeface="Helvetica" pitchFamily="2" charset="0"/>
                <a:cs typeface="Arial" panose="020B0604020202020204" pitchFamily="34" charset="0"/>
              </a:rPr>
              <a:t> استئناف نسبة معينة لا تتجاوز النصف يتم ضبطها من النشاط الاعتيادي وليس كامل النشاط</a:t>
            </a:r>
            <a:endParaRPr lang="fr-FR" sz="1600" dirty="0"/>
          </a:p>
        </p:txBody>
      </p:sp>
      <p:cxnSp>
        <p:nvCxnSpPr>
          <p:cNvPr id="27" name="Connecteur droit 12">
            <a:extLst>
              <a:ext uri="{FF2B5EF4-FFF2-40B4-BE49-F238E27FC236}">
                <a16:creationId xmlns:a16="http://schemas.microsoft.com/office/drawing/2014/main" xmlns="" id="{394AC54C-865E-D843-A5E6-5E044F41B350}"/>
              </a:ext>
            </a:extLst>
          </p:cNvPr>
          <p:cNvCxnSpPr/>
          <p:nvPr/>
        </p:nvCxnSpPr>
        <p:spPr>
          <a:xfrm>
            <a:off x="524701" y="1044232"/>
            <a:ext cx="8151914" cy="2030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12">
            <a:extLst>
              <a:ext uri="{FF2B5EF4-FFF2-40B4-BE49-F238E27FC236}">
                <a16:creationId xmlns:a16="http://schemas.microsoft.com/office/drawing/2014/main" xmlns="" id="{41AD993D-268D-5C47-9FA3-C527B11D1E0C}"/>
              </a:ext>
            </a:extLst>
          </p:cNvPr>
          <p:cNvCxnSpPr/>
          <p:nvPr/>
        </p:nvCxnSpPr>
        <p:spPr>
          <a:xfrm>
            <a:off x="524701" y="4645430"/>
            <a:ext cx="8151914" cy="2030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595886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50CB144D-90EE-0845-A939-A8F378A520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9928" y="2066590"/>
            <a:ext cx="5334900" cy="1244700"/>
          </a:xfrm>
          <a:noFill/>
          <a:ln>
            <a:noFill/>
          </a:ln>
        </p:spPr>
        <p:txBody>
          <a:bodyPr spcFirstLastPara="1" vert="horz" wrap="square" lIns="68580" tIns="34290" rIns="68580" bIns="34290" rtlCol="0" anchor="ctr" anchorCtr="0">
            <a:noAutofit/>
          </a:bodyPr>
          <a:lstStyle/>
          <a:p>
            <a:pPr marL="457200" indent="-311150" algn="r">
              <a:lnSpc>
                <a:spcPct val="90000"/>
              </a:lnSpc>
              <a:spcBef>
                <a:spcPct val="0"/>
              </a:spcBef>
              <a:buClr>
                <a:srgbClr val="000000"/>
              </a:buClr>
              <a:buFont typeface="Roboto"/>
            </a:pPr>
            <a:r>
              <a:rPr lang="ar-TN" sz="5400" b="1" kern="1200" dirty="0">
                <a:solidFill>
                  <a:schemeClr val="bg1"/>
                </a:solidFill>
                <a:latin typeface="Roboto"/>
                <a:ea typeface="Roboto"/>
                <a:sym typeface="Roboto"/>
              </a:rPr>
              <a:t> الالتزامات و شروط النجاح </a:t>
            </a:r>
            <a:endParaRPr lang="x-none" sz="5400" b="1" kern="1200" dirty="0">
              <a:solidFill>
                <a:schemeClr val="bg1"/>
              </a:solidFill>
              <a:latin typeface="Roboto"/>
              <a:ea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5667874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5"/>
          <p:cNvSpPr txBox="1">
            <a:spLocks noGrp="1"/>
          </p:cNvSpPr>
          <p:nvPr>
            <p:ph type="title"/>
          </p:nvPr>
        </p:nvSpPr>
        <p:spPr>
          <a:xfrm>
            <a:off x="311150" y="452669"/>
            <a:ext cx="8521700" cy="6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ar-TN" dirty="0"/>
              <a:t>التزامات الأطراف</a:t>
            </a:r>
            <a:endParaRPr dirty="0"/>
          </a:p>
        </p:txBody>
      </p:sp>
      <p:sp>
        <p:nvSpPr>
          <p:cNvPr id="2" name="Pentagone 1"/>
          <p:cNvSpPr/>
          <p:nvPr/>
        </p:nvSpPr>
        <p:spPr>
          <a:xfrm rot="5400000">
            <a:off x="6839057" y="901340"/>
            <a:ext cx="669724" cy="2246632"/>
          </a:xfrm>
          <a:prstGeom prst="homePlate">
            <a:avLst>
              <a:gd name="adj" fmla="val 3181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ZoneTexte 3"/>
          <p:cNvSpPr txBox="1"/>
          <p:nvPr/>
        </p:nvSpPr>
        <p:spPr>
          <a:xfrm>
            <a:off x="5992236" y="2563799"/>
            <a:ext cx="2363365" cy="18158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sz="1600" dirty="0"/>
              <a:t>التكثيف من التحاليل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sz="1600" dirty="0"/>
              <a:t>تدعيم المؤسسات الصحية بأسرة الإنعاش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sz="1600" dirty="0"/>
              <a:t>دعم البحث العلمي في مجال الوبائيات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sz="1600" dirty="0"/>
              <a:t>التقصي النشيط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sz="1600" dirty="0"/>
              <a:t>اليقظة والنجاعة في التدخل 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6128425" y="1800750"/>
            <a:ext cx="1629155" cy="39205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lvl="1" algn="r" defTabSz="711200" rtl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ar-TN" sz="1600" kern="1200" noProof="0" dirty="0">
                <a:solidFill>
                  <a:schemeClr val="bg1"/>
                </a:solidFill>
              </a:rPr>
              <a:t>التزامات الدولة</a:t>
            </a:r>
          </a:p>
        </p:txBody>
      </p:sp>
      <p:sp>
        <p:nvSpPr>
          <p:cNvPr id="27" name="Pentagone 26"/>
          <p:cNvSpPr/>
          <p:nvPr/>
        </p:nvSpPr>
        <p:spPr>
          <a:xfrm rot="5400000">
            <a:off x="4296895" y="901340"/>
            <a:ext cx="669724" cy="2246632"/>
          </a:xfrm>
          <a:prstGeom prst="homePlate">
            <a:avLst>
              <a:gd name="adj" fmla="val 3181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ZoneTexte 29"/>
          <p:cNvSpPr txBox="1"/>
          <p:nvPr/>
        </p:nvSpPr>
        <p:spPr>
          <a:xfrm>
            <a:off x="3450074" y="2563799"/>
            <a:ext cx="2363365" cy="132343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sz="1600" dirty="0"/>
              <a:t>الرقابة الذاتية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sz="1600" dirty="0"/>
              <a:t>الالتزام الطوعي في تطبيق مختلف الإجراءات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sz="1600" dirty="0"/>
              <a:t>الاعلام الفوري للحالات المشتبهة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3586263" y="1800750"/>
            <a:ext cx="1629155" cy="39205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lvl="1" algn="r" defTabSz="711200" rtl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ar-TN" sz="1600" kern="1200" noProof="0" dirty="0">
                <a:solidFill>
                  <a:schemeClr val="bg1"/>
                </a:solidFill>
              </a:rPr>
              <a:t>التزامات المؤسسات</a:t>
            </a:r>
          </a:p>
        </p:txBody>
      </p:sp>
      <p:sp>
        <p:nvSpPr>
          <p:cNvPr id="37" name="Pentagone 36"/>
          <p:cNvSpPr/>
          <p:nvPr/>
        </p:nvSpPr>
        <p:spPr>
          <a:xfrm rot="5400000">
            <a:off x="1844131" y="901340"/>
            <a:ext cx="669724" cy="2246632"/>
          </a:xfrm>
          <a:prstGeom prst="homePlate">
            <a:avLst>
              <a:gd name="adj" fmla="val 3181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ZoneTexte 37"/>
          <p:cNvSpPr txBox="1"/>
          <p:nvPr/>
        </p:nvSpPr>
        <p:spPr>
          <a:xfrm>
            <a:off x="997310" y="2563799"/>
            <a:ext cx="2363365" cy="132343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sz="1600" dirty="0"/>
              <a:t>الرقابة الذاتية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sz="1600" dirty="0"/>
              <a:t>الالتزام الطوعي في تطبيق مختلف الإجراءات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TN" sz="1600" dirty="0"/>
              <a:t>تجنب التجمعات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endParaRPr lang="ar-TN" sz="1600" dirty="0"/>
          </a:p>
        </p:txBody>
      </p:sp>
      <p:sp>
        <p:nvSpPr>
          <p:cNvPr id="39" name="ZoneTexte 38"/>
          <p:cNvSpPr txBox="1"/>
          <p:nvPr/>
        </p:nvSpPr>
        <p:spPr>
          <a:xfrm>
            <a:off x="1133499" y="1800750"/>
            <a:ext cx="1629155" cy="39205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lvl="1" algn="r" defTabSz="711200" rtl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ar-TN" sz="1600" kern="1200" noProof="0" dirty="0">
                <a:solidFill>
                  <a:schemeClr val="bg1"/>
                </a:solidFill>
              </a:rPr>
              <a:t>التزامات المواطن</a:t>
            </a:r>
          </a:p>
        </p:txBody>
      </p:sp>
    </p:spTree>
    <p:extLst>
      <p:ext uri="{BB962C8B-B14F-4D97-AF65-F5344CB8AC3E}">
        <p14:creationId xmlns:p14="http://schemas.microsoft.com/office/powerpoint/2010/main" val="9825934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11700" y="513558"/>
            <a:ext cx="8520600" cy="623700"/>
          </a:xfr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ar-TN" dirty="0">
                <a:sym typeface="Roboto"/>
              </a:rPr>
              <a:t>شروط النجاح 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260274" y="1326753"/>
            <a:ext cx="4229263" cy="3214346"/>
          </a:xfr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r" rtl="1">
              <a:spcAft>
                <a:spcPts val="1200"/>
              </a:spcAft>
            </a:pPr>
            <a:r>
              <a:rPr lang="ar-TN" sz="1600" dirty="0"/>
              <a:t>التوعية وانخراط جميع المنظمات  ومؤسسات المجتمع المدني في انجاح مختلف المراحل.</a:t>
            </a:r>
          </a:p>
          <a:p>
            <a:pPr algn="r" rtl="1">
              <a:spcAft>
                <a:spcPts val="1200"/>
              </a:spcAft>
            </a:pPr>
            <a:r>
              <a:rPr lang="ar-TN" sz="1600" dirty="0"/>
              <a:t>الانخراط الايجابي لمختلف وسائل الاعلام و التربية على سلوك وقائي يحفظ صحة المواطنين. </a:t>
            </a:r>
          </a:p>
          <a:p>
            <a:pPr algn="r" rtl="1">
              <a:spcAft>
                <a:spcPts val="1200"/>
              </a:spcAft>
            </a:pPr>
            <a:r>
              <a:rPr lang="ar-TN" sz="1600" dirty="0"/>
              <a:t>الرقابة الذاتية والالتزام الطوعي في تطبيق مختلف الإجراءات.</a:t>
            </a:r>
          </a:p>
          <a:p>
            <a:pPr algn="r" rtl="1">
              <a:spcAft>
                <a:spcPts val="1200"/>
              </a:spcAft>
            </a:pPr>
            <a:r>
              <a:rPr lang="ar-TN" sz="1600" dirty="0"/>
              <a:t>مواصلة الالتزام بالحجر الصحي بالنسبة للفئات والقطاعات غير المعنية بمرحلة الحجر الصحي الموجه.</a:t>
            </a:r>
          </a:p>
          <a:p>
            <a:pPr algn="r" rtl="1">
              <a:spcAft>
                <a:spcPts val="1200"/>
              </a:spcAft>
            </a:pPr>
            <a:endParaRPr lang="fr-FR" sz="1200" dirty="0"/>
          </a:p>
        </p:txBody>
      </p:sp>
      <p:sp>
        <p:nvSpPr>
          <p:cNvPr id="14" name="Oval 20">
            <a:extLst>
              <a:ext uri="{FF2B5EF4-FFF2-40B4-BE49-F238E27FC236}">
                <a16:creationId xmlns:a16="http://schemas.microsoft.com/office/drawing/2014/main" xmlns="" id="{1B79AE4A-64B1-0F4B-891A-BA3AAD35CCE8}"/>
              </a:ext>
            </a:extLst>
          </p:cNvPr>
          <p:cNvSpPr/>
          <p:nvPr/>
        </p:nvSpPr>
        <p:spPr>
          <a:xfrm>
            <a:off x="8165160" y="1326753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1</a:t>
            </a:r>
            <a:endParaRPr lang="x-none" sz="900" b="1" dirty="0"/>
          </a:p>
        </p:txBody>
      </p:sp>
      <p:sp>
        <p:nvSpPr>
          <p:cNvPr id="15" name="Oval 20">
            <a:extLst>
              <a:ext uri="{FF2B5EF4-FFF2-40B4-BE49-F238E27FC236}">
                <a16:creationId xmlns:a16="http://schemas.microsoft.com/office/drawing/2014/main" xmlns="" id="{42655CAC-E87C-B44E-A2C0-0863DFB0958D}"/>
              </a:ext>
            </a:extLst>
          </p:cNvPr>
          <p:cNvSpPr/>
          <p:nvPr/>
        </p:nvSpPr>
        <p:spPr>
          <a:xfrm>
            <a:off x="8165160" y="2056248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2</a:t>
            </a:r>
            <a:endParaRPr lang="x-none" sz="900" b="1" dirty="0"/>
          </a:p>
        </p:txBody>
      </p:sp>
      <p:sp>
        <p:nvSpPr>
          <p:cNvPr id="16" name="Oval 20">
            <a:extLst>
              <a:ext uri="{FF2B5EF4-FFF2-40B4-BE49-F238E27FC236}">
                <a16:creationId xmlns:a16="http://schemas.microsoft.com/office/drawing/2014/main" xmlns="" id="{7B78B3C7-2D28-994C-9093-93E916021B37}"/>
              </a:ext>
            </a:extLst>
          </p:cNvPr>
          <p:cNvSpPr/>
          <p:nvPr/>
        </p:nvSpPr>
        <p:spPr>
          <a:xfrm>
            <a:off x="8165160" y="2785743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3</a:t>
            </a:r>
            <a:endParaRPr lang="x-none" sz="900" b="1" dirty="0"/>
          </a:p>
        </p:txBody>
      </p:sp>
      <p:sp>
        <p:nvSpPr>
          <p:cNvPr id="17" name="Oval 20">
            <a:extLst>
              <a:ext uri="{FF2B5EF4-FFF2-40B4-BE49-F238E27FC236}">
                <a16:creationId xmlns:a16="http://schemas.microsoft.com/office/drawing/2014/main" xmlns="" id="{9D0C2774-DCFD-F641-AD13-54FCF044785B}"/>
              </a:ext>
            </a:extLst>
          </p:cNvPr>
          <p:cNvSpPr/>
          <p:nvPr/>
        </p:nvSpPr>
        <p:spPr>
          <a:xfrm>
            <a:off x="8165160" y="3515238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4</a:t>
            </a:r>
            <a:endParaRPr lang="x-none" sz="900" b="1" dirty="0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xmlns="" id="{5691284C-61B2-CE4F-9FE5-2C5D36EE135D}"/>
              </a:ext>
            </a:extLst>
          </p:cNvPr>
          <p:cNvSpPr txBox="1">
            <a:spLocks/>
          </p:cNvSpPr>
          <p:nvPr/>
        </p:nvSpPr>
        <p:spPr>
          <a:xfrm>
            <a:off x="204325" y="1326753"/>
            <a:ext cx="3256174" cy="32143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indent="-311150" algn="r" rtl="1">
              <a:lnSpc>
                <a:spcPct val="115000"/>
              </a:lnSpc>
              <a:spcAft>
                <a:spcPts val="600"/>
              </a:spcAft>
              <a:buClr>
                <a:schemeClr val="dk2"/>
              </a:buClr>
              <a:buSzPts val="1300"/>
              <a:buFont typeface="Roboto"/>
              <a:buChar char="●"/>
              <a:defRPr sz="18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indent="-298450">
              <a:lnSpc>
                <a:spcPct val="115000"/>
              </a:lnSpc>
              <a:spcBef>
                <a:spcPts val="1600"/>
              </a:spcBef>
              <a:buClr>
                <a:schemeClr val="dk2"/>
              </a:buClr>
              <a:buSzPts val="1100"/>
              <a:buFont typeface="Roboto"/>
              <a:buChar char="○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indent="-298450">
              <a:lnSpc>
                <a:spcPct val="115000"/>
              </a:lnSpc>
              <a:spcBef>
                <a:spcPts val="1600"/>
              </a:spcBef>
              <a:buClr>
                <a:schemeClr val="dk2"/>
              </a:buClr>
              <a:buSzPts val="1100"/>
              <a:buFont typeface="Roboto"/>
              <a:buChar char="■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indent="-298450">
              <a:lnSpc>
                <a:spcPct val="115000"/>
              </a:lnSpc>
              <a:spcBef>
                <a:spcPts val="1600"/>
              </a:spcBef>
              <a:buClr>
                <a:schemeClr val="dk2"/>
              </a:buClr>
              <a:buSzPts val="1100"/>
              <a:buFont typeface="Roboto"/>
              <a:buChar char="●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indent="-298450">
              <a:lnSpc>
                <a:spcPct val="115000"/>
              </a:lnSpc>
              <a:spcBef>
                <a:spcPts val="1600"/>
              </a:spcBef>
              <a:buClr>
                <a:schemeClr val="dk2"/>
              </a:buClr>
              <a:buSzPts val="1100"/>
              <a:buFont typeface="Roboto"/>
              <a:buChar char="○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indent="-298450">
              <a:lnSpc>
                <a:spcPct val="115000"/>
              </a:lnSpc>
              <a:spcBef>
                <a:spcPts val="1600"/>
              </a:spcBef>
              <a:buClr>
                <a:schemeClr val="dk2"/>
              </a:buClr>
              <a:buSzPts val="1100"/>
              <a:buFont typeface="Roboto"/>
              <a:buChar char="■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indent="-298450">
              <a:lnSpc>
                <a:spcPct val="115000"/>
              </a:lnSpc>
              <a:spcBef>
                <a:spcPts val="1600"/>
              </a:spcBef>
              <a:buClr>
                <a:schemeClr val="dk2"/>
              </a:buClr>
              <a:buSzPts val="1100"/>
              <a:buFont typeface="Roboto"/>
              <a:buChar char="●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indent="-298450">
              <a:lnSpc>
                <a:spcPct val="115000"/>
              </a:lnSpc>
              <a:spcBef>
                <a:spcPts val="1600"/>
              </a:spcBef>
              <a:buClr>
                <a:schemeClr val="dk2"/>
              </a:buClr>
              <a:buSzPts val="1100"/>
              <a:buFont typeface="Roboto"/>
              <a:buChar char="○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indent="-29845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100"/>
              <a:buFont typeface="Roboto"/>
              <a:buChar char="■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146050" indent="0">
              <a:spcAft>
                <a:spcPts val="1200"/>
              </a:spcAft>
              <a:buNone/>
            </a:pPr>
            <a:r>
              <a:rPr lang="ar-TN" sz="1600" dirty="0"/>
              <a:t>تنسيق مستمر وتشاركية فعلية في تطبيق مختلف مراحل الاستراتيجية. </a:t>
            </a:r>
          </a:p>
          <a:p>
            <a:pPr marL="146050" indent="0">
              <a:spcAft>
                <a:spcPts val="1200"/>
              </a:spcAft>
              <a:buNone/>
            </a:pPr>
            <a:r>
              <a:rPr lang="ar-TN" sz="1600" dirty="0"/>
              <a:t>انخراط نوعي للبلديات وهياكل الرقابة في ضمان احترام القانون على الجميع.</a:t>
            </a:r>
          </a:p>
          <a:p>
            <a:pPr marL="146050" indent="0">
              <a:spcAft>
                <a:spcPts val="1200"/>
              </a:spcAft>
              <a:buNone/>
            </a:pPr>
            <a:r>
              <a:rPr lang="ar-TN" sz="1600" dirty="0"/>
              <a:t>التقييم المستمر والقدرة على التأقلم مع مختلف المراحل.</a:t>
            </a:r>
          </a:p>
          <a:p>
            <a:pPr marL="146050" indent="0">
              <a:spcAft>
                <a:spcPts val="1200"/>
              </a:spcAft>
              <a:buNone/>
            </a:pPr>
            <a:r>
              <a:rPr lang="ar-TN" sz="1600" dirty="0"/>
              <a:t>التوعية والتحسيس المستمر لكل افراد المجتمع.</a:t>
            </a:r>
          </a:p>
          <a:p>
            <a:pPr marL="146050" indent="0">
              <a:spcAft>
                <a:spcPts val="1200"/>
              </a:spcAft>
              <a:buNone/>
            </a:pPr>
            <a:endParaRPr lang="ar-TN" sz="1600" dirty="0"/>
          </a:p>
          <a:p>
            <a:pPr marL="146050" indent="0">
              <a:spcAft>
                <a:spcPts val="1200"/>
              </a:spcAft>
              <a:buNone/>
            </a:pPr>
            <a:endParaRPr lang="fr-FR" sz="1600" dirty="0"/>
          </a:p>
        </p:txBody>
      </p:sp>
      <p:sp>
        <p:nvSpPr>
          <p:cNvPr id="19" name="Oval 20">
            <a:extLst>
              <a:ext uri="{FF2B5EF4-FFF2-40B4-BE49-F238E27FC236}">
                <a16:creationId xmlns:a16="http://schemas.microsoft.com/office/drawing/2014/main" xmlns="" id="{B57FF552-8C60-2642-83E9-B9C77B57819C}"/>
              </a:ext>
            </a:extLst>
          </p:cNvPr>
          <p:cNvSpPr/>
          <p:nvPr/>
        </p:nvSpPr>
        <p:spPr>
          <a:xfrm>
            <a:off x="3460499" y="1369573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5</a:t>
            </a:r>
            <a:endParaRPr lang="x-none" sz="900" b="1" dirty="0"/>
          </a:p>
        </p:txBody>
      </p:sp>
      <p:sp>
        <p:nvSpPr>
          <p:cNvPr id="20" name="Oval 20">
            <a:extLst>
              <a:ext uri="{FF2B5EF4-FFF2-40B4-BE49-F238E27FC236}">
                <a16:creationId xmlns:a16="http://schemas.microsoft.com/office/drawing/2014/main" xmlns="" id="{BD160705-4D23-4C4F-B341-D4F3BDE7C4F5}"/>
              </a:ext>
            </a:extLst>
          </p:cNvPr>
          <p:cNvSpPr/>
          <p:nvPr/>
        </p:nvSpPr>
        <p:spPr>
          <a:xfrm>
            <a:off x="3460499" y="2099068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6</a:t>
            </a:r>
            <a:endParaRPr lang="x-none" sz="900" b="1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D11BF78B-6A0E-8944-BF13-C2B23E9C8816}"/>
              </a:ext>
            </a:extLst>
          </p:cNvPr>
          <p:cNvSpPr/>
          <p:nvPr/>
        </p:nvSpPr>
        <p:spPr>
          <a:xfrm>
            <a:off x="3460499" y="2828563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7</a:t>
            </a:r>
            <a:endParaRPr lang="x-none" sz="900" b="1" dirty="0"/>
          </a:p>
        </p:txBody>
      </p:sp>
      <p:sp>
        <p:nvSpPr>
          <p:cNvPr id="22" name="Oval 20">
            <a:extLst>
              <a:ext uri="{FF2B5EF4-FFF2-40B4-BE49-F238E27FC236}">
                <a16:creationId xmlns:a16="http://schemas.microsoft.com/office/drawing/2014/main" xmlns="" id="{62F61F3E-FE2A-6B44-A3BB-7408462BFFF0}"/>
              </a:ext>
            </a:extLst>
          </p:cNvPr>
          <p:cNvSpPr/>
          <p:nvPr/>
        </p:nvSpPr>
        <p:spPr>
          <a:xfrm>
            <a:off x="3460499" y="3558058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900" dirty="0"/>
              <a:t>8</a:t>
            </a:r>
            <a:endParaRPr lang="x-none" sz="900" b="1" dirty="0"/>
          </a:p>
        </p:txBody>
      </p:sp>
    </p:spTree>
    <p:extLst>
      <p:ext uri="{BB962C8B-B14F-4D97-AF65-F5344CB8AC3E}">
        <p14:creationId xmlns:p14="http://schemas.microsoft.com/office/powerpoint/2010/main" val="18962838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EC1195FD-E8C8-444F-9697-9551F643AA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3784" y="1609388"/>
            <a:ext cx="2626003" cy="1244700"/>
          </a:xfrm>
          <a:noFill/>
          <a:ln>
            <a:noFill/>
          </a:ln>
        </p:spPr>
        <p:txBody>
          <a:bodyPr spcFirstLastPara="1" vert="horz" wrap="square" lIns="68580" tIns="34290" rIns="68580" bIns="34290" rtlCol="0" anchor="ctr" anchorCtr="0">
            <a:normAutofit fontScale="90000"/>
          </a:bodyPr>
          <a:lstStyle/>
          <a:p>
            <a:pPr marL="457200" indent="-311150">
              <a:lnSpc>
                <a:spcPct val="90000"/>
              </a:lnSpc>
              <a:spcBef>
                <a:spcPct val="0"/>
              </a:spcBef>
              <a:buClr>
                <a:srgbClr val="000000"/>
              </a:buClr>
              <a:buFont typeface="Roboto"/>
            </a:pPr>
            <a:r>
              <a:rPr lang="ar-SA" sz="8800" b="1" kern="1200" dirty="0">
                <a:solidFill>
                  <a:schemeClr val="bg1"/>
                </a:solidFill>
                <a:latin typeface="Roboto"/>
                <a:ea typeface="Roboto"/>
                <a:sym typeface="Roboto"/>
              </a:rPr>
              <a:t>شكرا</a:t>
            </a:r>
            <a:endParaRPr lang="x-none" sz="8800" b="1" kern="1200" dirty="0">
              <a:solidFill>
                <a:schemeClr val="bg1"/>
              </a:solidFill>
              <a:latin typeface="Roboto"/>
              <a:ea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7470086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6C081C9F-5989-EA42-9F08-2374C53DA042}"/>
              </a:ext>
            </a:extLst>
          </p:cNvPr>
          <p:cNvSpPr/>
          <p:nvPr/>
        </p:nvSpPr>
        <p:spPr>
          <a:xfrm>
            <a:off x="5826969" y="1624088"/>
            <a:ext cx="3271311" cy="28450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xmlns="" id="{7F007525-9DC5-DB4C-87EC-048A1BA027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2858"/>
              </p:ext>
            </p:extLst>
          </p:nvPr>
        </p:nvGraphicFramePr>
        <p:xfrm>
          <a:off x="-407670" y="1467524"/>
          <a:ext cx="6065520" cy="34791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7" name="Diagram 26">
            <a:extLst>
              <a:ext uri="{FF2B5EF4-FFF2-40B4-BE49-F238E27FC236}">
                <a16:creationId xmlns:a16="http://schemas.microsoft.com/office/drawing/2014/main" xmlns="" id="{EE8ADF4C-D031-FB44-82B1-5B07257AD44C}"/>
              </a:ext>
            </a:extLst>
          </p:cNvPr>
          <p:cNvGraphicFramePr/>
          <p:nvPr/>
        </p:nvGraphicFramePr>
        <p:xfrm>
          <a:off x="5337810" y="840106"/>
          <a:ext cx="4469129" cy="4583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AEB7A777-12F9-2041-876A-E8009056BE44}"/>
              </a:ext>
            </a:extLst>
          </p:cNvPr>
          <p:cNvSpPr/>
          <p:nvPr/>
        </p:nvSpPr>
        <p:spPr>
          <a:xfrm>
            <a:off x="3554730" y="2155105"/>
            <a:ext cx="2003861" cy="202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 algn="r" rtl="1">
              <a:buFont typeface="Arial" panose="020B0604020202020204" pitchFamily="34" charset="0"/>
              <a:buChar char="•"/>
            </a:pPr>
            <a:r>
              <a:rPr lang="ar-TN" sz="1600" dirty="0"/>
              <a:t>المنظمات الوطنية </a:t>
            </a:r>
            <a:r>
              <a:rPr lang="x-none" sz="1600" dirty="0"/>
              <a:t> </a:t>
            </a:r>
            <a:endParaRPr lang="x-none" sz="1600" i="1" dirty="0"/>
          </a:p>
          <a:p>
            <a:pPr marL="285750" indent="-285750" algn="r" rtl="1">
              <a:buFont typeface="Arial" panose="020B0604020202020204" pitchFamily="34" charset="0"/>
              <a:buChar char="•"/>
            </a:pPr>
            <a:r>
              <a:rPr lang="ar-TN" sz="1600" i="1" dirty="0"/>
              <a:t>المجتمع المدني </a:t>
            </a:r>
            <a:endParaRPr lang="x-none" sz="1600" i="1" dirty="0"/>
          </a:p>
          <a:p>
            <a:pPr marL="285750" indent="-285750" algn="r" rtl="1">
              <a:buFont typeface="Arial" panose="020B0604020202020204" pitchFamily="34" charset="0"/>
              <a:buChar char="•"/>
            </a:pPr>
            <a:r>
              <a:rPr lang="ar-TN" sz="1600" i="1" dirty="0"/>
              <a:t>الخبراء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45470DBD-11C4-4040-B298-15255346E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360" y="481523"/>
            <a:ext cx="8520600" cy="623700"/>
          </a:xfr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ar-TN" b="1" dirty="0">
                <a:latin typeface="+mj-lt"/>
                <a:cs typeface="+mj-cs"/>
              </a:rPr>
              <a:t>مقاربة استراتيجية الحجر الصحي الموجه</a:t>
            </a:r>
            <a:endParaRPr lang="x-none" b="1" dirty="0">
              <a:latin typeface="+mj-lt"/>
              <a:cs typeface="+mj-cs"/>
            </a:endParaRPr>
          </a:p>
        </p:txBody>
      </p:sp>
      <p:cxnSp>
        <p:nvCxnSpPr>
          <p:cNvPr id="13" name="Elbow Connector 12">
            <a:extLst>
              <a:ext uri="{FF2B5EF4-FFF2-40B4-BE49-F238E27FC236}">
                <a16:creationId xmlns:a16="http://schemas.microsoft.com/office/drawing/2014/main" xmlns="" id="{5A672AEE-E73B-184F-8CB9-EAE46B0B810F}"/>
              </a:ext>
            </a:extLst>
          </p:cNvPr>
          <p:cNvCxnSpPr>
            <a:cxnSpLocks/>
          </p:cNvCxnSpPr>
          <p:nvPr/>
        </p:nvCxnSpPr>
        <p:spPr>
          <a:xfrm rot="16200000" flipH="1">
            <a:off x="934798" y="2441017"/>
            <a:ext cx="3591748" cy="1373796"/>
          </a:xfrm>
          <a:prstGeom prst="bentConnector3">
            <a:avLst>
              <a:gd name="adj1" fmla="val 38"/>
            </a:avLst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C5708763-43CD-1643-A3B1-7FC4653A0B1D}"/>
              </a:ext>
            </a:extLst>
          </p:cNvPr>
          <p:cNvSpPr txBox="1"/>
          <p:nvPr/>
        </p:nvSpPr>
        <p:spPr>
          <a:xfrm>
            <a:off x="547128" y="3091599"/>
            <a:ext cx="1177290" cy="52322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ar-TN" dirty="0"/>
              <a:t>الحجر الصحي الموجه </a:t>
            </a:r>
            <a:endParaRPr lang="x-none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A6BD041A-6889-184D-8245-93D6D3062F03}"/>
              </a:ext>
            </a:extLst>
          </p:cNvPr>
          <p:cNvSpPr txBox="1"/>
          <p:nvPr/>
        </p:nvSpPr>
        <p:spPr>
          <a:xfrm>
            <a:off x="6984050" y="2421650"/>
            <a:ext cx="18482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TN" b="1" dirty="0">
                <a:solidFill>
                  <a:schemeClr val="bg1"/>
                </a:solidFill>
              </a:rPr>
              <a:t>المؤسسة</a:t>
            </a:r>
            <a:endParaRPr lang="x-none" b="1" dirty="0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F82DF361-0C81-CC48-BFED-51E55BCABEC6}"/>
              </a:ext>
            </a:extLst>
          </p:cNvPr>
          <p:cNvSpPr txBox="1"/>
          <p:nvPr/>
        </p:nvSpPr>
        <p:spPr>
          <a:xfrm>
            <a:off x="5815539" y="2413010"/>
            <a:ext cx="17339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TN" b="1" dirty="0">
                <a:solidFill>
                  <a:schemeClr val="bg1"/>
                </a:solidFill>
              </a:rPr>
              <a:t>المواطن</a:t>
            </a:r>
            <a:endParaRPr lang="x-none" b="1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D5704C2A-46EF-7C48-A101-840378917936}"/>
              </a:ext>
            </a:extLst>
          </p:cNvPr>
          <p:cNvSpPr txBox="1"/>
          <p:nvPr/>
        </p:nvSpPr>
        <p:spPr>
          <a:xfrm>
            <a:off x="6391062" y="3445389"/>
            <a:ext cx="17339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TN" b="1" dirty="0">
                <a:solidFill>
                  <a:schemeClr val="bg1"/>
                </a:solidFill>
              </a:rPr>
              <a:t>السلطة المركزية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A48C021E-C4A5-FF46-B11B-7C20E017702F}"/>
              </a:ext>
            </a:extLst>
          </p:cNvPr>
          <p:cNvSpPr txBox="1"/>
          <p:nvPr/>
        </p:nvSpPr>
        <p:spPr>
          <a:xfrm>
            <a:off x="7649857" y="3454029"/>
            <a:ext cx="17339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TN" b="1" dirty="0">
                <a:solidFill>
                  <a:schemeClr val="bg1"/>
                </a:solidFill>
              </a:rPr>
              <a:t>السلطة الجهوية </a:t>
            </a:r>
          </a:p>
          <a:p>
            <a:pPr algn="ctr"/>
            <a:r>
              <a:rPr lang="ar-TN" b="1" dirty="0">
                <a:solidFill>
                  <a:schemeClr val="bg1"/>
                </a:solidFill>
              </a:rPr>
              <a:t>و  المحلية </a:t>
            </a:r>
            <a:endParaRPr lang="x-none" b="1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9A4F2A05-65C2-D541-975D-8A0C70DD4B90}"/>
              </a:ext>
            </a:extLst>
          </p:cNvPr>
          <p:cNvSpPr txBox="1"/>
          <p:nvPr/>
        </p:nvSpPr>
        <p:spPr>
          <a:xfrm>
            <a:off x="6601724" y="4621694"/>
            <a:ext cx="1928058" cy="307777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ar-TN" b="1" dirty="0">
                <a:solidFill>
                  <a:schemeClr val="bg1"/>
                </a:solidFill>
              </a:rPr>
              <a:t>المسؤوليات</a:t>
            </a:r>
            <a:endParaRPr lang="x-none" b="1" dirty="0">
              <a:solidFill>
                <a:schemeClr val="bg1"/>
              </a:solidFill>
            </a:endParaRPr>
          </a:p>
        </p:txBody>
      </p:sp>
      <p:sp>
        <p:nvSpPr>
          <p:cNvPr id="35" name="Right Triangle 34">
            <a:extLst>
              <a:ext uri="{FF2B5EF4-FFF2-40B4-BE49-F238E27FC236}">
                <a16:creationId xmlns:a16="http://schemas.microsoft.com/office/drawing/2014/main" xmlns="" id="{8CEF04DC-CAFE-0042-B8F3-EE160FBF0B22}"/>
              </a:ext>
            </a:extLst>
          </p:cNvPr>
          <p:cNvSpPr/>
          <p:nvPr/>
        </p:nvSpPr>
        <p:spPr>
          <a:xfrm>
            <a:off x="3554730" y="1359956"/>
            <a:ext cx="1897380" cy="1053054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6" name="Right Triangle 35">
            <a:extLst>
              <a:ext uri="{FF2B5EF4-FFF2-40B4-BE49-F238E27FC236}">
                <a16:creationId xmlns:a16="http://schemas.microsoft.com/office/drawing/2014/main" xmlns="" id="{F3D99A55-56EB-A941-A18F-9ACF81B9D4D3}"/>
              </a:ext>
            </a:extLst>
          </p:cNvPr>
          <p:cNvSpPr/>
          <p:nvPr/>
        </p:nvSpPr>
        <p:spPr>
          <a:xfrm rot="10800000" flipH="1">
            <a:off x="3524053" y="3906727"/>
            <a:ext cx="1928057" cy="1053054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4CABFF4-50FE-B949-9C56-BFCD592FD227}"/>
              </a:ext>
            </a:extLst>
          </p:cNvPr>
          <p:cNvSpPr txBox="1"/>
          <p:nvPr/>
        </p:nvSpPr>
        <p:spPr>
          <a:xfrm>
            <a:off x="3684072" y="1316311"/>
            <a:ext cx="2057400" cy="307777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ar-TN" b="1" dirty="0">
                <a:solidFill>
                  <a:schemeClr val="bg1"/>
                </a:solidFill>
              </a:rPr>
              <a:t>مسار تشاركي </a:t>
            </a:r>
            <a:r>
              <a:rPr lang="ar-TN" b="1" dirty="0">
                <a:solidFill>
                  <a:srgbClr val="FF0000"/>
                </a:solidFill>
              </a:rPr>
              <a:t> </a:t>
            </a:r>
            <a:r>
              <a:rPr lang="x-none" b="1" dirty="0">
                <a:solidFill>
                  <a:schemeClr val="bg1"/>
                </a:solidFill>
              </a:rPr>
              <a:t> 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CD47C98F-A2BB-6543-BB01-215E559D3BFD}"/>
              </a:ext>
            </a:extLst>
          </p:cNvPr>
          <p:cNvCxnSpPr>
            <a:cxnSpLocks/>
          </p:cNvCxnSpPr>
          <p:nvPr/>
        </p:nvCxnSpPr>
        <p:spPr>
          <a:xfrm>
            <a:off x="5741472" y="2413010"/>
            <a:ext cx="0" cy="1493717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Block Arc 44">
            <a:extLst>
              <a:ext uri="{FF2B5EF4-FFF2-40B4-BE49-F238E27FC236}">
                <a16:creationId xmlns:a16="http://schemas.microsoft.com/office/drawing/2014/main" xmlns="" id="{BBD14A08-777D-E848-9B22-6E44D2819A50}"/>
              </a:ext>
            </a:extLst>
          </p:cNvPr>
          <p:cNvSpPr/>
          <p:nvPr/>
        </p:nvSpPr>
        <p:spPr>
          <a:xfrm rot="12070740">
            <a:off x="44869" y="2280486"/>
            <a:ext cx="2181809" cy="2036748"/>
          </a:xfrm>
          <a:prstGeom prst="blockArc">
            <a:avLst>
              <a:gd name="adj1" fmla="val 10800000"/>
              <a:gd name="adj2" fmla="val 20424193"/>
              <a:gd name="adj3" fmla="val 879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>
              <a:solidFill>
                <a:schemeClr val="tx1"/>
              </a:solidFill>
            </a:endParaRPr>
          </a:p>
        </p:txBody>
      </p:sp>
      <p:sp>
        <p:nvSpPr>
          <p:cNvPr id="21" name="TextBox 33">
            <a:extLst>
              <a:ext uri="{FF2B5EF4-FFF2-40B4-BE49-F238E27FC236}">
                <a16:creationId xmlns:a16="http://schemas.microsoft.com/office/drawing/2014/main" xmlns="" id="{9A4F2A05-65C2-D541-975D-8A0C70DD4B90}"/>
              </a:ext>
            </a:extLst>
          </p:cNvPr>
          <p:cNvSpPr txBox="1"/>
          <p:nvPr/>
        </p:nvSpPr>
        <p:spPr>
          <a:xfrm>
            <a:off x="77659" y="1328594"/>
            <a:ext cx="1928058" cy="307777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ar-TN" b="1" dirty="0">
                <a:solidFill>
                  <a:schemeClr val="bg1"/>
                </a:solidFill>
              </a:rPr>
              <a:t>استراتيجية </a:t>
            </a:r>
            <a:endParaRPr lang="x-none" b="1" dirty="0">
              <a:solidFill>
                <a:schemeClr val="bg1"/>
              </a:solidFill>
            </a:endParaRPr>
          </a:p>
        </p:txBody>
      </p:sp>
      <p:sp>
        <p:nvSpPr>
          <p:cNvPr id="23" name="TextBox 33">
            <a:extLst>
              <a:ext uri="{FF2B5EF4-FFF2-40B4-BE49-F238E27FC236}">
                <a16:creationId xmlns:a16="http://schemas.microsoft.com/office/drawing/2014/main" xmlns="" id="{9A4F2A05-65C2-D541-975D-8A0C70DD4B90}"/>
              </a:ext>
            </a:extLst>
          </p:cNvPr>
          <p:cNvSpPr txBox="1"/>
          <p:nvPr/>
        </p:nvSpPr>
        <p:spPr>
          <a:xfrm>
            <a:off x="6347559" y="1312302"/>
            <a:ext cx="1928058" cy="307777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ar-TN" b="1" dirty="0">
                <a:solidFill>
                  <a:schemeClr val="bg1"/>
                </a:solidFill>
              </a:rPr>
              <a:t>التنفيذ</a:t>
            </a:r>
            <a:endParaRPr lang="x-non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765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A37C886B-017F-8147-BC5D-643007EFE165}"/>
              </a:ext>
            </a:extLst>
          </p:cNvPr>
          <p:cNvSpPr/>
          <p:nvPr/>
        </p:nvSpPr>
        <p:spPr>
          <a:xfrm>
            <a:off x="311725" y="1448657"/>
            <a:ext cx="8520600" cy="310279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2D63C00-E632-3347-98A5-8CC8D30AEB9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ar-TN" b="1" dirty="0">
                <a:latin typeface="+mj-lt"/>
                <a:cs typeface="+mj-cs"/>
              </a:rPr>
              <a:t>الفئات المستثناة </a:t>
            </a:r>
            <a:endParaRPr lang="x-none" b="1" dirty="0">
              <a:latin typeface="+mj-lt"/>
              <a:cs typeface="+mj-cs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A5674D6E-5DFE-DD4E-B79A-63FB58370E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53733" y="1999060"/>
            <a:ext cx="3154177" cy="1591160"/>
          </a:xfrm>
        </p:spPr>
        <p:txBody>
          <a:bodyPr/>
          <a:lstStyle/>
          <a:p>
            <a:pPr marL="146050" indent="0" algn="just" rtl="1">
              <a:buNone/>
            </a:pPr>
            <a:r>
              <a:rPr lang="ar-SA" sz="2000" b="1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ar-TN" sz="2000" b="1" dirty="0">
                <a:latin typeface="Calibri" panose="020F0502020204030204" pitchFamily="34" charset="0"/>
                <a:cs typeface="Times New Roman" panose="02020603050405020304" pitchFamily="18" charset="0"/>
              </a:rPr>
              <a:t>الأشخاص ذوى مناعة ضعيفة </a:t>
            </a:r>
          </a:p>
          <a:p>
            <a:pPr marL="146050" indent="0" algn="r" rtl="1">
              <a:buNone/>
            </a:pPr>
            <a:r>
              <a:rPr lang="ar-TN" sz="2000" b="1" dirty="0">
                <a:latin typeface="Calibri" panose="020F0502020204030204" pitchFamily="34" charset="0"/>
                <a:cs typeface="Times New Roman" panose="02020603050405020304" pitchFamily="18" charset="0"/>
              </a:rPr>
              <a:t>الأشخاص الحاملين لأمراض مزمنة</a:t>
            </a:r>
            <a:endParaRPr lang="ar-SA" sz="2000" b="1" dirty="0">
              <a:latin typeface="Calibri" panose="020F0502020204030204" pitchFamily="34" charset="0"/>
            </a:endParaRPr>
          </a:p>
          <a:p>
            <a:pPr marL="146050" indent="0" algn="just" rtl="1">
              <a:buNone/>
            </a:pPr>
            <a:r>
              <a:rPr lang="ar-SA" sz="2000" b="1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x-none" sz="2000" b="1" dirty="0"/>
          </a:p>
        </p:txBody>
      </p:sp>
      <p:sp>
        <p:nvSpPr>
          <p:cNvPr id="12" name="Doughnut 11">
            <a:extLst>
              <a:ext uri="{FF2B5EF4-FFF2-40B4-BE49-F238E27FC236}">
                <a16:creationId xmlns:a16="http://schemas.microsoft.com/office/drawing/2014/main" xmlns="" id="{5618F3FF-2642-F148-A294-D37CA163D912}"/>
              </a:ext>
            </a:extLst>
          </p:cNvPr>
          <p:cNvSpPr/>
          <p:nvPr/>
        </p:nvSpPr>
        <p:spPr>
          <a:xfrm>
            <a:off x="7755144" y="2074640"/>
            <a:ext cx="720000" cy="720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800">
              <a:solidFill>
                <a:schemeClr val="tx1"/>
              </a:solidFill>
            </a:endParaRPr>
          </a:p>
        </p:txBody>
      </p:sp>
      <p:sp>
        <p:nvSpPr>
          <p:cNvPr id="14" name="Doughnut 13">
            <a:extLst>
              <a:ext uri="{FF2B5EF4-FFF2-40B4-BE49-F238E27FC236}">
                <a16:creationId xmlns:a16="http://schemas.microsoft.com/office/drawing/2014/main" xmlns="" id="{EA43CE65-F257-DA4B-90FB-FE2FEB24A192}"/>
              </a:ext>
            </a:extLst>
          </p:cNvPr>
          <p:cNvSpPr/>
          <p:nvPr/>
        </p:nvSpPr>
        <p:spPr>
          <a:xfrm>
            <a:off x="3264838" y="2074640"/>
            <a:ext cx="720000" cy="720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800">
              <a:solidFill>
                <a:schemeClr val="tx1"/>
              </a:solidFill>
            </a:endParaRPr>
          </a:p>
        </p:txBody>
      </p:sp>
      <p:sp>
        <p:nvSpPr>
          <p:cNvPr id="15" name="Doughnut 14">
            <a:extLst>
              <a:ext uri="{FF2B5EF4-FFF2-40B4-BE49-F238E27FC236}">
                <a16:creationId xmlns:a16="http://schemas.microsoft.com/office/drawing/2014/main" xmlns="" id="{F191AC58-BB65-A64C-8260-6227AC335234}"/>
              </a:ext>
            </a:extLst>
          </p:cNvPr>
          <p:cNvSpPr/>
          <p:nvPr/>
        </p:nvSpPr>
        <p:spPr>
          <a:xfrm>
            <a:off x="3264838" y="3200273"/>
            <a:ext cx="720000" cy="720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80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8B3D49E4-1D4E-E24F-8F7B-1272588EB33C}"/>
              </a:ext>
            </a:extLst>
          </p:cNvPr>
          <p:cNvSpPr/>
          <p:nvPr/>
        </p:nvSpPr>
        <p:spPr>
          <a:xfrm>
            <a:off x="-458843" y="3231718"/>
            <a:ext cx="3600000" cy="747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46046" algn="r" rtl="1">
              <a:buClr>
                <a:schemeClr val="dk2"/>
              </a:buClr>
              <a:buSzPts val="1300"/>
            </a:pPr>
            <a:r>
              <a:rPr lang="ar-SA" sz="2000" b="1" dirty="0">
                <a:solidFill>
                  <a:schemeClr val="dk2"/>
                </a:solidFill>
                <a:latin typeface="Roboto"/>
                <a:ea typeface="Roboto"/>
              </a:rPr>
              <a:t> </a:t>
            </a:r>
            <a:r>
              <a:rPr lang="ar-TN" sz="2000" b="1" dirty="0">
                <a:solidFill>
                  <a:schemeClr val="dk2"/>
                </a:solidFill>
                <a:latin typeface="Roboto"/>
                <a:ea typeface="Roboto"/>
              </a:rPr>
              <a:t>ال</a:t>
            </a:r>
            <a:r>
              <a:rPr lang="ar-SA" sz="2000" b="1" dirty="0">
                <a:solidFill>
                  <a:schemeClr val="dk2"/>
                </a:solidFill>
                <a:latin typeface="Roboto"/>
                <a:ea typeface="Roboto"/>
              </a:rPr>
              <a:t>نساء الحوامل</a:t>
            </a:r>
            <a:endParaRPr lang="x-none" sz="2000" b="1" dirty="0">
              <a:solidFill>
                <a:schemeClr val="dk2"/>
              </a:solidFill>
              <a:latin typeface="Roboto"/>
              <a:ea typeface="Roboto"/>
              <a:sym typeface="Roboto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C7004A05-192D-9B49-B024-AB8216B3B2F4}"/>
              </a:ext>
            </a:extLst>
          </p:cNvPr>
          <p:cNvSpPr/>
          <p:nvPr/>
        </p:nvSpPr>
        <p:spPr>
          <a:xfrm>
            <a:off x="1021144" y="3321398"/>
            <a:ext cx="3600000" cy="576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46046">
              <a:buClr>
                <a:schemeClr val="dk2"/>
              </a:buClr>
              <a:buSzPts val="1300"/>
            </a:pPr>
            <a:endParaRPr lang="x-none" sz="2000" b="1" dirty="0">
              <a:solidFill>
                <a:schemeClr val="dk2"/>
              </a:solidFill>
              <a:latin typeface="Roboto"/>
              <a:ea typeface="Roboto"/>
              <a:sym typeface="Roboto"/>
            </a:endParaRPr>
          </a:p>
        </p:txBody>
      </p:sp>
      <p:pic>
        <p:nvPicPr>
          <p:cNvPr id="26" name="Graphic 25" descr="Medicine">
            <a:extLst>
              <a:ext uri="{FF2B5EF4-FFF2-40B4-BE49-F238E27FC236}">
                <a16:creationId xmlns:a16="http://schemas.microsoft.com/office/drawing/2014/main" xmlns="" id="{59C5CE3E-0E95-0E4A-A7C5-ED0367CB99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915442" y="2214070"/>
            <a:ext cx="441139" cy="441139"/>
          </a:xfrm>
          <a:prstGeom prst="rect">
            <a:avLst/>
          </a:prstGeom>
        </p:spPr>
      </p:pic>
      <p:pic>
        <p:nvPicPr>
          <p:cNvPr id="28" name="Graphic 27" descr="Man and woman">
            <a:extLst>
              <a:ext uri="{FF2B5EF4-FFF2-40B4-BE49-F238E27FC236}">
                <a16:creationId xmlns:a16="http://schemas.microsoft.com/office/drawing/2014/main" xmlns="" id="{4ECAEAF4-91EA-6744-A1F3-ABD1DF6E3A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96238" y="2215909"/>
            <a:ext cx="457200" cy="457200"/>
          </a:xfrm>
          <a:prstGeom prst="rect">
            <a:avLst/>
          </a:prstGeom>
        </p:spPr>
      </p:pic>
      <p:pic>
        <p:nvPicPr>
          <p:cNvPr id="13" name="Graphic 3" descr="Pregnant lady">
            <a:extLst>
              <a:ext uri="{FF2B5EF4-FFF2-40B4-BE49-F238E27FC236}">
                <a16:creationId xmlns:a16="http://schemas.microsoft.com/office/drawing/2014/main" xmlns="" id="{2E9F7E75-944C-1449-BBF4-2D101BAA91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390033" y="3331673"/>
            <a:ext cx="457200" cy="4572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70C0ED2-D669-5340-8359-E5422123A733}"/>
              </a:ext>
            </a:extLst>
          </p:cNvPr>
          <p:cNvSpPr/>
          <p:nvPr/>
        </p:nvSpPr>
        <p:spPr>
          <a:xfrm>
            <a:off x="358350" y="2272999"/>
            <a:ext cx="2803974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46046" algn="r" rtl="1">
              <a:buClr>
                <a:schemeClr val="dk2"/>
              </a:buClr>
              <a:buSzPts val="1300"/>
            </a:pPr>
            <a:r>
              <a:rPr lang="ar-TN" sz="2000" b="1" dirty="0">
                <a:solidFill>
                  <a:schemeClr val="dk2"/>
                </a:solidFill>
                <a:latin typeface="Roboto"/>
                <a:ea typeface="Roboto"/>
              </a:rPr>
              <a:t> الأشخاص الأكثر من  65 سنة </a:t>
            </a:r>
            <a:endParaRPr lang="x-none" sz="2000" b="1" dirty="0">
              <a:solidFill>
                <a:schemeClr val="dk2"/>
              </a:solidFill>
              <a:latin typeface="Roboto"/>
              <a:ea typeface="Roboto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1872D77C-36B6-8048-9216-F8299B60C599}"/>
              </a:ext>
            </a:extLst>
          </p:cNvPr>
          <p:cNvCxnSpPr/>
          <p:nvPr/>
        </p:nvCxnSpPr>
        <p:spPr>
          <a:xfrm>
            <a:off x="4393434" y="1774548"/>
            <a:ext cx="0" cy="2524122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oughnut 13">
            <a:extLst>
              <a:ext uri="{FF2B5EF4-FFF2-40B4-BE49-F238E27FC236}">
                <a16:creationId xmlns:a16="http://schemas.microsoft.com/office/drawing/2014/main" xmlns="" id="{EA43CE65-F257-DA4B-90FB-FE2FEB24A192}"/>
              </a:ext>
            </a:extLst>
          </p:cNvPr>
          <p:cNvSpPr/>
          <p:nvPr/>
        </p:nvSpPr>
        <p:spPr>
          <a:xfrm>
            <a:off x="7775942" y="3240722"/>
            <a:ext cx="720000" cy="720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8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370C0ED2-D669-5340-8359-E5422123A733}"/>
              </a:ext>
            </a:extLst>
          </p:cNvPr>
          <p:cNvSpPr/>
          <p:nvPr/>
        </p:nvSpPr>
        <p:spPr>
          <a:xfrm>
            <a:off x="4937952" y="3388763"/>
            <a:ext cx="2803974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46046" algn="r" rtl="1">
              <a:buClr>
                <a:schemeClr val="dk2"/>
              </a:buClr>
              <a:buSzPts val="1300"/>
            </a:pPr>
            <a:r>
              <a:rPr lang="ar-TN" sz="2000" b="1" dirty="0">
                <a:solidFill>
                  <a:schemeClr val="dk2"/>
                </a:solidFill>
                <a:latin typeface="Roboto"/>
                <a:ea typeface="Roboto"/>
              </a:rPr>
              <a:t> الأطفال الأقل من  15 سنة </a:t>
            </a:r>
            <a:endParaRPr lang="x-none" sz="2000" b="1" dirty="0">
              <a:solidFill>
                <a:schemeClr val="dk2"/>
              </a:solidFill>
              <a:latin typeface="Roboto"/>
              <a:ea typeface="Roboto"/>
            </a:endParaRPr>
          </a:p>
        </p:txBody>
      </p:sp>
      <p:pic>
        <p:nvPicPr>
          <p:cNvPr id="20" name="Graphic 27" descr="Man and woman">
            <a:extLst>
              <a:ext uri="{FF2B5EF4-FFF2-40B4-BE49-F238E27FC236}">
                <a16:creationId xmlns:a16="http://schemas.microsoft.com/office/drawing/2014/main" xmlns="" id="{4ECAEAF4-91EA-6744-A1F3-ABD1DF6E3A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899381" y="3361620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0950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B6837D6-1C35-FB45-B5A3-CD37C14C9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983" y="114845"/>
            <a:ext cx="8520600" cy="623700"/>
          </a:xfr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ar-TN" b="1" dirty="0">
                <a:latin typeface="+mj-lt"/>
                <a:cs typeface="+mj-cs"/>
              </a:rPr>
              <a:t>دليل  شروط السلامة </a:t>
            </a:r>
            <a:endParaRPr lang="x-none" b="1" dirty="0">
              <a:latin typeface="+mj-lt"/>
              <a:cs typeface="+mj-cs"/>
            </a:endParaRPr>
          </a:p>
        </p:txBody>
      </p:sp>
      <p:graphicFrame>
        <p:nvGraphicFramePr>
          <p:cNvPr id="4" name="Tableau 6">
            <a:extLst>
              <a:ext uri="{FF2B5EF4-FFF2-40B4-BE49-F238E27FC236}">
                <a16:creationId xmlns:a16="http://schemas.microsoft.com/office/drawing/2014/main" xmlns="" id="{D4170443-343C-477A-B44F-EF41A3106F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9411181"/>
              </p:ext>
            </p:extLst>
          </p:nvPr>
        </p:nvGraphicFramePr>
        <p:xfrm>
          <a:off x="199982" y="3028277"/>
          <a:ext cx="2642939" cy="73152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2642939">
                  <a:extLst>
                    <a:ext uri="{9D8B030D-6E8A-4147-A177-3AD203B41FA5}">
                      <a16:colId xmlns:a16="http://schemas.microsoft.com/office/drawing/2014/main" xmlns="" val="145867981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TN" sz="1800" b="1" i="0" u="none" strike="noStrike" cap="none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دليل الوقاية والسلامة الصحية</a:t>
                      </a:r>
                      <a:endParaRPr lang="fr-FR" sz="1800" b="1" i="0" u="none" strike="noStrike" cap="none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575766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TN" sz="1800" b="1" i="0" u="none" strike="noStrike" cap="none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مراقبة احترام الإجراءات </a:t>
                      </a:r>
                      <a:endParaRPr lang="fr-FR" sz="1800" b="1" i="0" u="none" strike="noStrike" cap="none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89644788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6946285-6902-FF4F-9420-8B032B427690}"/>
              </a:ext>
            </a:extLst>
          </p:cNvPr>
          <p:cNvSpPr/>
          <p:nvPr/>
        </p:nvSpPr>
        <p:spPr>
          <a:xfrm>
            <a:off x="7479466" y="2432817"/>
            <a:ext cx="12507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r-SA" sz="1600" b="1" dirty="0">
                <a:solidFill>
                  <a:srgbClr val="222222"/>
                </a:solidFill>
                <a:latin typeface="arial" panose="020B0604020202020204" pitchFamily="34" charset="0"/>
              </a:rPr>
              <a:t>قواعد </a:t>
            </a:r>
            <a:r>
              <a:rPr lang="ar-TN" sz="1600" b="1" dirty="0">
                <a:solidFill>
                  <a:srgbClr val="222222"/>
                </a:solidFill>
                <a:latin typeface="arial" panose="020B0604020202020204" pitchFamily="34" charset="0"/>
              </a:rPr>
              <a:t> الصحة</a:t>
            </a:r>
            <a:endParaRPr lang="ar-SA" sz="1600" b="1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  <p:pic>
        <p:nvPicPr>
          <p:cNvPr id="7" name="Graphic 6" descr="Medical">
            <a:extLst>
              <a:ext uri="{FF2B5EF4-FFF2-40B4-BE49-F238E27FC236}">
                <a16:creationId xmlns:a16="http://schemas.microsoft.com/office/drawing/2014/main" xmlns="" id="{64B6B370-2E8E-6A43-9EE3-E48FAFAB82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590011" y="1534599"/>
            <a:ext cx="761715" cy="761715"/>
          </a:xfrm>
          <a:prstGeom prst="rect">
            <a:avLst/>
          </a:prstGeom>
        </p:spPr>
      </p:pic>
      <p:sp>
        <p:nvSpPr>
          <p:cNvPr id="8" name="Doughnut 7">
            <a:extLst>
              <a:ext uri="{FF2B5EF4-FFF2-40B4-BE49-F238E27FC236}">
                <a16:creationId xmlns:a16="http://schemas.microsoft.com/office/drawing/2014/main" xmlns="" id="{B8115541-A343-CC4D-9F30-D79C6C2CF21A}"/>
              </a:ext>
            </a:extLst>
          </p:cNvPr>
          <p:cNvSpPr>
            <a:spLocks noChangeAspect="1"/>
          </p:cNvSpPr>
          <p:nvPr/>
        </p:nvSpPr>
        <p:spPr>
          <a:xfrm>
            <a:off x="7529766" y="1487247"/>
            <a:ext cx="864000" cy="864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pic>
        <p:nvPicPr>
          <p:cNvPr id="10" name="Graphic 9" descr="Bus">
            <a:extLst>
              <a:ext uri="{FF2B5EF4-FFF2-40B4-BE49-F238E27FC236}">
                <a16:creationId xmlns:a16="http://schemas.microsoft.com/office/drawing/2014/main" xmlns="" id="{1F9FB677-841E-684E-B55B-A5D69AF6F7C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247797" y="1750974"/>
            <a:ext cx="457200" cy="457200"/>
          </a:xfrm>
          <a:prstGeom prst="rect">
            <a:avLst/>
          </a:prstGeom>
        </p:spPr>
      </p:pic>
      <p:pic>
        <p:nvPicPr>
          <p:cNvPr id="12" name="Graphic 11" descr="Doctor">
            <a:extLst>
              <a:ext uri="{FF2B5EF4-FFF2-40B4-BE49-F238E27FC236}">
                <a16:creationId xmlns:a16="http://schemas.microsoft.com/office/drawing/2014/main" xmlns="" id="{E665B2F7-CC35-C241-937D-1E504D6D75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176923" y="3093803"/>
            <a:ext cx="551793" cy="551793"/>
          </a:xfrm>
          <a:prstGeom prst="rect">
            <a:avLst/>
          </a:prstGeom>
        </p:spPr>
      </p:pic>
      <p:pic>
        <p:nvPicPr>
          <p:cNvPr id="14" name="Graphic 13" descr="Recycle sign">
            <a:extLst>
              <a:ext uri="{FF2B5EF4-FFF2-40B4-BE49-F238E27FC236}">
                <a16:creationId xmlns:a16="http://schemas.microsoft.com/office/drawing/2014/main" xmlns="" id="{1E849A55-EF90-B94D-9F8D-DEE03B91705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7752735" y="3064463"/>
            <a:ext cx="457200" cy="457200"/>
          </a:xfrm>
          <a:prstGeom prst="rect">
            <a:avLst/>
          </a:prstGeom>
        </p:spPr>
      </p:pic>
      <p:sp>
        <p:nvSpPr>
          <p:cNvPr id="15" name="Doughnut 14">
            <a:extLst>
              <a:ext uri="{FF2B5EF4-FFF2-40B4-BE49-F238E27FC236}">
                <a16:creationId xmlns:a16="http://schemas.microsoft.com/office/drawing/2014/main" xmlns="" id="{1C02835A-7A2C-844E-A905-97A3EE988C3A}"/>
              </a:ext>
            </a:extLst>
          </p:cNvPr>
          <p:cNvSpPr>
            <a:spLocks noChangeAspect="1"/>
          </p:cNvSpPr>
          <p:nvPr/>
        </p:nvSpPr>
        <p:spPr>
          <a:xfrm>
            <a:off x="7529766" y="2878138"/>
            <a:ext cx="864000" cy="864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16" name="Doughnut 15">
            <a:extLst>
              <a:ext uri="{FF2B5EF4-FFF2-40B4-BE49-F238E27FC236}">
                <a16:creationId xmlns:a16="http://schemas.microsoft.com/office/drawing/2014/main" xmlns="" id="{5BEE3350-19C7-5148-97A4-50B011307B7C}"/>
              </a:ext>
            </a:extLst>
          </p:cNvPr>
          <p:cNvSpPr>
            <a:spLocks noChangeAspect="1"/>
          </p:cNvSpPr>
          <p:nvPr/>
        </p:nvSpPr>
        <p:spPr>
          <a:xfrm>
            <a:off x="3020820" y="1551686"/>
            <a:ext cx="864000" cy="864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17" name="Doughnut 16">
            <a:extLst>
              <a:ext uri="{FF2B5EF4-FFF2-40B4-BE49-F238E27FC236}">
                <a16:creationId xmlns:a16="http://schemas.microsoft.com/office/drawing/2014/main" xmlns="" id="{325030E3-F665-EB40-B095-47FACE189B0B}"/>
              </a:ext>
            </a:extLst>
          </p:cNvPr>
          <p:cNvSpPr>
            <a:spLocks noChangeAspect="1"/>
          </p:cNvSpPr>
          <p:nvPr/>
        </p:nvSpPr>
        <p:spPr>
          <a:xfrm>
            <a:off x="3020820" y="2937700"/>
            <a:ext cx="864000" cy="864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95E5D648-8B8A-944A-94E7-75B77AC3C824}"/>
              </a:ext>
            </a:extLst>
          </p:cNvPr>
          <p:cNvSpPr/>
          <p:nvPr/>
        </p:nvSpPr>
        <p:spPr>
          <a:xfrm>
            <a:off x="7358074" y="3822718"/>
            <a:ext cx="150451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r-TN" sz="1600" b="1" dirty="0">
                <a:solidFill>
                  <a:srgbClr val="222222"/>
                </a:solidFill>
                <a:latin typeface="arial" panose="020B0604020202020204" pitchFamily="34" charset="0"/>
              </a:rPr>
              <a:t>إجراءات تنظيمية </a:t>
            </a:r>
            <a:endParaRPr lang="fr-FR" sz="1600" b="1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37DD0737-FDDF-324B-9317-78FBDA01C4D8}"/>
              </a:ext>
            </a:extLst>
          </p:cNvPr>
          <p:cNvSpPr/>
          <p:nvPr/>
        </p:nvSpPr>
        <p:spPr>
          <a:xfrm>
            <a:off x="3252629" y="2473819"/>
            <a:ext cx="5636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r-TN" sz="1600" b="1" dirty="0">
                <a:solidFill>
                  <a:srgbClr val="222222"/>
                </a:solidFill>
                <a:latin typeface="arial" panose="020B0604020202020204" pitchFamily="34" charset="0"/>
              </a:rPr>
              <a:t>النقل</a:t>
            </a:r>
            <a:endParaRPr lang="x-none" sz="1600" b="1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F5234176-E308-2C47-BC87-E5FA49578CC5}"/>
              </a:ext>
            </a:extLst>
          </p:cNvPr>
          <p:cNvSpPr/>
          <p:nvPr/>
        </p:nvSpPr>
        <p:spPr>
          <a:xfrm>
            <a:off x="2962394" y="3822719"/>
            <a:ext cx="105508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r-TN" sz="1600" b="1" dirty="0">
                <a:solidFill>
                  <a:srgbClr val="222222"/>
                </a:solidFill>
                <a:latin typeface="arial" panose="020B0604020202020204" pitchFamily="34" charset="0"/>
              </a:rPr>
              <a:t>طب الشغل </a:t>
            </a:r>
            <a:endParaRPr lang="fr-FR" sz="1600" b="1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xmlns="" id="{3FFC7359-0EDD-2740-84D6-AF3B5E8CDB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5851444"/>
              </p:ext>
            </p:extLst>
          </p:nvPr>
        </p:nvGraphicFramePr>
        <p:xfrm>
          <a:off x="199983" y="1489426"/>
          <a:ext cx="2566424" cy="109728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2566424">
                  <a:extLst>
                    <a:ext uri="{9D8B030D-6E8A-4147-A177-3AD203B41FA5}">
                      <a16:colId xmlns:a16="http://schemas.microsoft.com/office/drawing/2014/main" xmlns="" val="35166289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TN" sz="1800" b="1" i="0" u="none" strike="noStrike" cap="none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نقل ذاتي بالنسبة للمؤسسات </a:t>
                      </a:r>
                      <a:endParaRPr lang="fr-FR" sz="1800" b="1" i="0" u="none" strike="noStrike" cap="none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03681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TN" sz="1800" b="1" i="0" u="none" strike="noStrike" cap="none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النقل الفردي </a:t>
                      </a:r>
                      <a:endParaRPr lang="fr-FR" sz="1800" b="1" i="0" u="none" strike="noStrike" cap="none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89406076"/>
                  </a:ext>
                </a:extLst>
              </a:tr>
              <a:tr h="147014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TN" sz="1800" b="1" i="0" u="none" strike="noStrike" cap="none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النقل العمومي </a:t>
                      </a:r>
                      <a:endParaRPr lang="fr-FR" sz="1800" b="1" i="0" u="none" strike="noStrike" cap="none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592528721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xmlns="" id="{E4F00FF4-2073-3748-9768-79D75337B0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1205635"/>
              </p:ext>
            </p:extLst>
          </p:nvPr>
        </p:nvGraphicFramePr>
        <p:xfrm>
          <a:off x="4791850" y="1494203"/>
          <a:ext cx="2566225" cy="164592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2566225">
                  <a:extLst>
                    <a:ext uri="{9D8B030D-6E8A-4147-A177-3AD203B41FA5}">
                      <a16:colId xmlns:a16="http://schemas.microsoft.com/office/drawing/2014/main" xmlns="" val="3199199939"/>
                    </a:ext>
                  </a:extLst>
                </a:gridCol>
              </a:tblGrid>
              <a:tr h="54423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TN" sz="1800" b="1" dirty="0"/>
                        <a:t>ضرورة لباس الكمامات</a:t>
                      </a:r>
                      <a:r>
                        <a:rPr lang="ar-TN" sz="1800" dirty="0"/>
                        <a:t> </a:t>
                      </a: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TN" sz="1800" b="1" i="0" u="none" strike="noStrike" cap="none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التباعد الجسدي</a:t>
                      </a:r>
                      <a:endParaRPr lang="x-none" sz="1800" b="1" i="0" u="none" strike="noStrike" cap="none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TN" sz="1800" b="1" i="0" u="none" strike="noStrike" cap="none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نظافة اليدين</a:t>
                      </a:r>
                      <a:endParaRPr lang="fr-FR" sz="1800" b="1" i="0" u="none" strike="noStrike" cap="none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01596080"/>
                  </a:ext>
                </a:extLst>
              </a:tr>
              <a:tr h="217692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SA" sz="1800" b="1" i="0" u="none" strike="noStrike" cap="none" baseline="0" dirty="0">
                        <a:solidFill>
                          <a:schemeClr val="bg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83495385"/>
                  </a:ext>
                </a:extLst>
              </a:tr>
              <a:tr h="217692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TN" sz="1800" b="1" i="0" u="none" strike="noStrike" cap="none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02177187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xmlns="" id="{58FE6A9E-B8CA-5845-B855-03F15058B9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8884869"/>
              </p:ext>
            </p:extLst>
          </p:nvPr>
        </p:nvGraphicFramePr>
        <p:xfrm>
          <a:off x="5294768" y="2995739"/>
          <a:ext cx="2063307" cy="73152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2063307">
                  <a:extLst>
                    <a:ext uri="{9D8B030D-6E8A-4147-A177-3AD203B41FA5}">
                      <a16:colId xmlns:a16="http://schemas.microsoft.com/office/drawing/2014/main" xmlns="" val="83343668"/>
                    </a:ext>
                  </a:extLst>
                </a:gridCol>
              </a:tblGrid>
              <a:tr h="168017">
                <a:tc>
                  <a:txBody>
                    <a:bodyPr/>
                    <a:lstStyle/>
                    <a:p>
                      <a:pPr marL="0" indent="0" algn="r">
                        <a:buClr>
                          <a:schemeClr val="accent4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ar-TN" sz="1800" b="1" i="0" u="none" strike="noStrike" cap="none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منظومة المؤسسة </a:t>
                      </a:r>
                      <a:endParaRPr lang="fr-FR" sz="1800" b="1" i="0" u="none" strike="noStrike" cap="none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51682577"/>
                  </a:ext>
                </a:extLst>
              </a:tr>
              <a:tr h="231023">
                <a:tc>
                  <a:txBody>
                    <a:bodyPr/>
                    <a:lstStyle/>
                    <a:p>
                      <a:pPr marL="0" indent="0" algn="r">
                        <a:buClr>
                          <a:schemeClr val="accent4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ar-TN" sz="1800" b="1" i="0" u="none" strike="noStrike" cap="none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السلامة الصحية للمقرات </a:t>
                      </a:r>
                      <a:endParaRPr lang="fr-FR" sz="1800" b="1" i="0" u="none" strike="noStrike" cap="none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747633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29345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8B1BD91-3771-4095-B128-FBB38285B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700" y="203442"/>
            <a:ext cx="8520600" cy="623700"/>
          </a:xfr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 rtl="1"/>
            <a:r>
              <a:rPr lang="ar-TN" altLang="x-none" b="1" dirty="0">
                <a:latin typeface="+mj-lt"/>
                <a:cs typeface="+mj-cs"/>
              </a:rPr>
              <a:t>  توجيهات </a:t>
            </a:r>
            <a:r>
              <a:rPr lang="ar-SA" altLang="x-none" b="1" dirty="0">
                <a:latin typeface="+mj-lt"/>
                <a:cs typeface="+mj-cs"/>
              </a:rPr>
              <a:t>الوقاية اللازمة ضّد الإصابة </a:t>
            </a:r>
            <a:r>
              <a:rPr lang="ar-SA" altLang="x-none" b="1" dirty="0" err="1">
                <a:latin typeface="+mj-lt"/>
                <a:cs typeface="+mj-cs"/>
              </a:rPr>
              <a:t>بالكورونا</a:t>
            </a:r>
            <a:r>
              <a:rPr lang="fr-FR" altLang="x-none" b="1" dirty="0">
                <a:latin typeface="+mj-lt"/>
                <a:cs typeface="+mj-cs"/>
              </a:rPr>
              <a:t> </a:t>
            </a:r>
            <a:r>
              <a:rPr lang="ar-SA" altLang="x-none" b="1" dirty="0">
                <a:latin typeface="+mj-lt"/>
                <a:cs typeface="+mj-cs"/>
              </a:rPr>
              <a:t>لاستئناف العمل</a:t>
            </a:r>
            <a:r>
              <a:rPr lang="ar-TN" altLang="x-none" b="1" dirty="0">
                <a:latin typeface="+mj-lt"/>
                <a:cs typeface="+mj-cs"/>
              </a:rPr>
              <a:t> </a:t>
            </a:r>
            <a:r>
              <a:rPr lang="ar-SA" altLang="x-none" b="1" dirty="0">
                <a:latin typeface="+mj-lt"/>
                <a:cs typeface="+mj-cs"/>
              </a:rPr>
              <a:t/>
            </a:r>
            <a:br>
              <a:rPr lang="ar-SA" altLang="x-none" b="1" dirty="0">
                <a:latin typeface="+mj-lt"/>
                <a:cs typeface="+mj-cs"/>
              </a:rPr>
            </a:br>
            <a:endParaRPr lang="fr-FR" b="1" dirty="0">
              <a:latin typeface="+mj-lt"/>
              <a:cs typeface="+mj-cs"/>
              <a:sym typeface="Arial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A8931B5B-1E58-483C-8906-8AF081FED726}"/>
              </a:ext>
            </a:extLst>
          </p:cNvPr>
          <p:cNvSpPr txBox="1"/>
          <p:nvPr/>
        </p:nvSpPr>
        <p:spPr>
          <a:xfrm>
            <a:off x="544853" y="4440631"/>
            <a:ext cx="773613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ar-SA" altLang="x-none" dirty="0">
                <a:solidFill>
                  <a:srgbClr val="222222"/>
                </a:solidFill>
                <a:latin typeface="inherit"/>
                <a:cs typeface="Arial" panose="020B0604020202020204" pitchFamily="34" charset="0"/>
              </a:rPr>
              <a:t>إشعارات المعلومات متوفرة على موقع</a:t>
            </a:r>
            <a:r>
              <a:rPr lang="x-none" altLang="x-none" sz="400">
                <a:solidFill>
                  <a:schemeClr val="tx1"/>
                </a:solidFill>
              </a:rPr>
              <a:t> </a:t>
            </a:r>
            <a:endParaRPr lang="x-none" altLang="x-none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algn="ctr"/>
            <a:r>
              <a:rPr lang="ar-AE" dirty="0"/>
              <a:t>وزارة الشؤون الإجتماعية</a:t>
            </a:r>
            <a:endParaRPr lang="fr-FR" dirty="0"/>
          </a:p>
          <a:p>
            <a:pPr algn="ctr"/>
            <a:r>
              <a:rPr lang="en-US" dirty="0">
                <a:hlinkClick r:id="rId2"/>
              </a:rPr>
              <a:t>http://www.social.tn/</a:t>
            </a:r>
            <a:endParaRPr lang="x-none" dirty="0"/>
          </a:p>
        </p:txBody>
      </p:sp>
      <p:sp>
        <p:nvSpPr>
          <p:cNvPr id="35" name="Rectangle 2">
            <a:extLst>
              <a:ext uri="{FF2B5EF4-FFF2-40B4-BE49-F238E27FC236}">
                <a16:creationId xmlns:a16="http://schemas.microsoft.com/office/drawing/2014/main" xmlns="" id="{39C232B2-90CD-4F28-A504-80069387AA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96335" y="252115"/>
            <a:ext cx="65" cy="25776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9522" rIns="0" bIns="-952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x-none" altLang="x-non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xmlns="" id="{17318CA0-515D-48FF-9270-46AA7293EEA8}"/>
              </a:ext>
            </a:extLst>
          </p:cNvPr>
          <p:cNvSpPr txBox="1"/>
          <p:nvPr/>
        </p:nvSpPr>
        <p:spPr>
          <a:xfrm>
            <a:off x="4859995" y="2074195"/>
            <a:ext cx="3212274" cy="23196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r" rt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ar-SA" altLang="x-none" b="1" dirty="0">
                <a:solidFill>
                  <a:schemeClr val="tx1">
                    <a:lumMod val="65000"/>
                    <a:lumOff val="35000"/>
                  </a:schemeClr>
                </a:solidFill>
                <a:latin typeface="inherit"/>
                <a:cs typeface="Arial" panose="020B0604020202020204" pitchFamily="34" charset="0"/>
              </a:rPr>
              <a:t>دليل التدابير الصحية للوقاية من</a:t>
            </a:r>
            <a:r>
              <a:rPr lang="fr-FR" altLang="x-none" b="1" dirty="0">
                <a:solidFill>
                  <a:schemeClr val="tx1">
                    <a:lumMod val="65000"/>
                    <a:lumOff val="35000"/>
                  </a:schemeClr>
                </a:solidFill>
                <a:latin typeface="inherit"/>
                <a:cs typeface="Arial" panose="020B0604020202020204" pitchFamily="34" charset="0"/>
              </a:rPr>
              <a:t> COVID-19 </a:t>
            </a:r>
            <a:r>
              <a:rPr lang="ar-SA" altLang="x-none" b="1" dirty="0">
                <a:solidFill>
                  <a:schemeClr val="tx1">
                    <a:lumMod val="65000"/>
                    <a:lumOff val="35000"/>
                  </a:schemeClr>
                </a:solidFill>
                <a:latin typeface="inherit"/>
                <a:cs typeface="Arial" panose="020B0604020202020204" pitchFamily="34" charset="0"/>
              </a:rPr>
              <a:t>في الاستئناف الموجه للنشاط المهني</a:t>
            </a:r>
            <a:endParaRPr lang="fr-FR" altLang="x-none" b="1" dirty="0">
              <a:solidFill>
                <a:schemeClr val="tx1">
                  <a:lumMod val="65000"/>
                  <a:lumOff val="35000"/>
                </a:schemeClr>
              </a:solidFill>
              <a:latin typeface="inherit"/>
              <a:cs typeface="Arial" panose="020B0604020202020204" pitchFamily="34" charset="0"/>
            </a:endParaRPr>
          </a:p>
          <a:p>
            <a:pPr marL="285750" indent="-285750" algn="r" rt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ar-AE" altLang="x-none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دليل إجراءات التفقد حول سبل التوقي من فيروس كوفيد</a:t>
            </a:r>
            <a:r>
              <a:rPr lang="fr-FR" altLang="x-none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fr-FR" altLang="x-none" b="1" dirty="0">
                <a:solidFill>
                  <a:schemeClr val="tx1">
                    <a:lumMod val="65000"/>
                    <a:lumOff val="35000"/>
                  </a:schemeClr>
                </a:solidFill>
                <a:latin typeface="inherit"/>
                <a:cs typeface="Arial" panose="020B0604020202020204" pitchFamily="34" charset="0"/>
              </a:rPr>
              <a:t>COVID-19 </a:t>
            </a:r>
            <a:r>
              <a:rPr lang="ar-AE" altLang="x-none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لاستئناف الأنشطة المهنية</a:t>
            </a:r>
            <a:r>
              <a:rPr lang="x-none" altLang="x-none" b="1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endParaRPr lang="fr-FR" altLang="x-none" b="1" dirty="0">
              <a:solidFill>
                <a:schemeClr val="tx1">
                  <a:lumMod val="65000"/>
                  <a:lumOff val="35000"/>
                </a:schemeClr>
              </a:solidFill>
              <a:latin typeface="inherit"/>
              <a:cs typeface="Arial" panose="020B0604020202020204" pitchFamily="34" charset="0"/>
            </a:endParaRPr>
          </a:p>
          <a:p>
            <a:pPr marL="285750" indent="-285750" algn="r" rt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ar-AE" altLang="x-none" b="1" dirty="0">
                <a:solidFill>
                  <a:schemeClr val="tx1">
                    <a:lumMod val="65000"/>
                    <a:lumOff val="35000"/>
                  </a:schemeClr>
                </a:solidFill>
                <a:latin typeface="inherit"/>
                <a:cs typeface="Arial" panose="020B0604020202020204" pitchFamily="34" charset="0"/>
              </a:rPr>
              <a:t>دليل إجراءات التفقد للمهن الصغرى لاستئناف الأنشطة المهنية</a:t>
            </a:r>
            <a:r>
              <a:rPr lang="fr-FR" altLang="x-none" b="1" dirty="0">
                <a:solidFill>
                  <a:schemeClr val="tx1">
                    <a:lumMod val="65000"/>
                    <a:lumOff val="35000"/>
                  </a:schemeClr>
                </a:solidFill>
                <a:latin typeface="inherit"/>
                <a:cs typeface="Arial" panose="020B0604020202020204" pitchFamily="34" charset="0"/>
              </a:rPr>
              <a:t> </a:t>
            </a:r>
            <a:r>
              <a:rPr lang="ar-TN" altLang="x-none" b="1" dirty="0">
                <a:solidFill>
                  <a:schemeClr val="tx1">
                    <a:lumMod val="65000"/>
                    <a:lumOff val="35000"/>
                  </a:schemeClr>
                </a:solidFill>
                <a:latin typeface="inherit"/>
                <a:cs typeface="Arial" panose="020B0604020202020204" pitchFamily="34" charset="0"/>
              </a:rPr>
              <a:t> في المهن الصغرى</a:t>
            </a:r>
            <a:endParaRPr lang="fr-FR" altLang="x-none" b="1" dirty="0">
              <a:solidFill>
                <a:schemeClr val="tx1">
                  <a:lumMod val="65000"/>
                  <a:lumOff val="35000"/>
                </a:schemeClr>
              </a:solidFill>
              <a:latin typeface="inherit"/>
              <a:cs typeface="Arial" panose="020B0604020202020204" pitchFamily="34" charset="0"/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xmlns="" id="{3AC3074C-163E-4E7E-9EB3-72D55ACB52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3935" y="99715"/>
            <a:ext cx="65" cy="25776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9522" rIns="0" bIns="-952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x-none" altLang="x-non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E07C1285-19DB-2E4D-87E2-9182DDC5B815}"/>
              </a:ext>
            </a:extLst>
          </p:cNvPr>
          <p:cNvSpPr/>
          <p:nvPr/>
        </p:nvSpPr>
        <p:spPr>
          <a:xfrm>
            <a:off x="-1167566" y="2136541"/>
            <a:ext cx="4572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pPr marL="738188" lvl="1" indent="-285750" algn="r" rtl="1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§"/>
            </a:pPr>
            <a:r>
              <a:rPr lang="ar-AE" altLang="x-none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النقل العمومي بالحافلة</a:t>
            </a:r>
            <a:endParaRPr lang="fr-FR" altLang="x-none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</a:endParaRPr>
          </a:p>
          <a:p>
            <a:pPr marL="738188" lvl="1" indent="-285750" algn="r" rtl="1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§"/>
            </a:pPr>
            <a:r>
              <a:rPr lang="ar-AE" altLang="x-none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النقل بواسطة وسيلة نقل بعجلتين</a:t>
            </a:r>
          </a:p>
          <a:p>
            <a:pPr marL="738188" lvl="1" indent="-285750" algn="r" rtl="1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§"/>
            </a:pPr>
            <a:r>
              <a:rPr lang="ar-AE" altLang="x-none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النقل بواسطة المترو الخفيف والقطار</a:t>
            </a:r>
            <a:endParaRPr lang="fr-FR" altLang="x-none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</a:endParaRPr>
          </a:p>
          <a:p>
            <a:pPr marL="738188" lvl="1" indent="-285750" algn="r" rtl="1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§"/>
            </a:pPr>
            <a:r>
              <a:rPr lang="ar-AE" altLang="x-none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النقل بواسطة وسيلة نقل خاصة</a:t>
            </a:r>
            <a:endParaRPr lang="fr-FR" altLang="x-none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</a:endParaRPr>
          </a:p>
          <a:p>
            <a:pPr marL="738188" lvl="1" indent="-285750" algn="r" rtl="1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§"/>
            </a:pPr>
            <a:r>
              <a:rPr lang="ar-AE" altLang="x-none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النقل بواسطة التاكسي الجماعي</a:t>
            </a:r>
          </a:p>
          <a:p>
            <a:pPr marL="738188" lvl="1" indent="-285750" algn="r" rtl="1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§"/>
            </a:pPr>
            <a:r>
              <a:rPr lang="ar-AE" altLang="x-none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النقل بواسطة التاكسي الفردي</a:t>
            </a:r>
            <a:endParaRPr lang="fr-FR" altLang="x-none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</a:endParaRPr>
          </a:p>
          <a:p>
            <a:pPr marL="738188" lvl="1" indent="-285750" algn="r" rtl="1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§"/>
            </a:pPr>
            <a:r>
              <a:rPr lang="ar-AE" altLang="x-none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أصحاب المهن الصغرى</a:t>
            </a:r>
            <a:endParaRPr lang="fr-FR" altLang="x-none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7" name="Graphic 6" descr="Checklist">
            <a:extLst>
              <a:ext uri="{FF2B5EF4-FFF2-40B4-BE49-F238E27FC236}">
                <a16:creationId xmlns:a16="http://schemas.microsoft.com/office/drawing/2014/main" xmlns="" id="{0583D253-4A4E-5B45-A04B-0956EE90A9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610841" y="2399694"/>
            <a:ext cx="545523" cy="545523"/>
          </a:xfrm>
          <a:prstGeom prst="rect">
            <a:avLst/>
          </a:prstGeom>
        </p:spPr>
      </p:pic>
      <p:sp>
        <p:nvSpPr>
          <p:cNvPr id="12" name="Doughnut 11">
            <a:extLst>
              <a:ext uri="{FF2B5EF4-FFF2-40B4-BE49-F238E27FC236}">
                <a16:creationId xmlns:a16="http://schemas.microsoft.com/office/drawing/2014/main" xmlns="" id="{0E357220-90FA-8449-8DA6-8A60CEE548DE}"/>
              </a:ext>
            </a:extLst>
          </p:cNvPr>
          <p:cNvSpPr>
            <a:spLocks noChangeAspect="1"/>
          </p:cNvSpPr>
          <p:nvPr/>
        </p:nvSpPr>
        <p:spPr>
          <a:xfrm>
            <a:off x="3451489" y="2238682"/>
            <a:ext cx="864000" cy="864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10581F4-51AE-3A43-A76A-530616AC72AE}"/>
              </a:ext>
            </a:extLst>
          </p:cNvPr>
          <p:cNvSpPr/>
          <p:nvPr/>
        </p:nvSpPr>
        <p:spPr>
          <a:xfrm>
            <a:off x="2893135" y="3277913"/>
            <a:ext cx="198243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ar-AE" altLang="x-none" dirty="0">
                <a:solidFill>
                  <a:schemeClr val="tx1"/>
                </a:solidFill>
                <a:latin typeface="Arial" panose="020B0604020202020204" pitchFamily="34" charset="0"/>
              </a:rPr>
              <a:t>شروط حفظ الصحة اللازمة للتوقي </a:t>
            </a:r>
            <a:r>
              <a:rPr lang="ar-AE" altLang="x-none" dirty="0">
                <a:solidFill>
                  <a:schemeClr val="tx1"/>
                </a:solidFill>
              </a:rPr>
              <a:t>من فيروس كوفيد</a:t>
            </a:r>
            <a:r>
              <a:rPr lang="ar-TN" altLang="x-none" dirty="0">
                <a:solidFill>
                  <a:schemeClr val="tx1"/>
                </a:solidFill>
              </a:rPr>
              <a:t> </a:t>
            </a:r>
            <a:r>
              <a:rPr lang="fr-FR" altLang="x-none" dirty="0">
                <a:solidFill>
                  <a:srgbClr val="222222"/>
                </a:solidFill>
                <a:latin typeface="inherit"/>
                <a:cs typeface="Arial" panose="020B0604020202020204" pitchFamily="34" charset="0"/>
              </a:rPr>
              <a:t>COVID-19</a:t>
            </a:r>
            <a:endParaRPr lang="fr-FR" altLang="x-none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09DD9CE9-E6A7-9E44-82FF-270CB4D99A95}"/>
              </a:ext>
            </a:extLst>
          </p:cNvPr>
          <p:cNvSpPr/>
          <p:nvPr/>
        </p:nvSpPr>
        <p:spPr>
          <a:xfrm>
            <a:off x="311700" y="1505004"/>
            <a:ext cx="85211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ar-SA" altLang="x-none" sz="1600" b="1" dirty="0">
                <a:solidFill>
                  <a:schemeClr val="accent2">
                    <a:lumMod val="75000"/>
                  </a:schemeClr>
                </a:solidFill>
                <a:latin typeface="inherit"/>
                <a:cs typeface="Arial" panose="020B0604020202020204" pitchFamily="34" charset="0"/>
              </a:rPr>
              <a:t>تنشر وزارة الشؤون الاجتماعية وثائق تشرح قواعد السلامة</a:t>
            </a:r>
            <a:r>
              <a:rPr lang="fr-FR" altLang="x-none" sz="1600" b="1" dirty="0">
                <a:solidFill>
                  <a:schemeClr val="accent2">
                    <a:lumMod val="75000"/>
                  </a:schemeClr>
                </a:solidFill>
                <a:latin typeface="inherit"/>
                <a:cs typeface="Arial" panose="020B0604020202020204" pitchFamily="34" charset="0"/>
              </a:rPr>
              <a:t> </a:t>
            </a:r>
            <a:r>
              <a:rPr lang="ar-AE" sz="1600" b="1" dirty="0">
                <a:solidFill>
                  <a:schemeClr val="accent2">
                    <a:lumMod val="75000"/>
                  </a:schemeClr>
                </a:solidFill>
              </a:rPr>
              <a:t>و</a:t>
            </a:r>
            <a:r>
              <a:rPr lang="ar-SA" altLang="x-none" sz="1600" b="1" dirty="0">
                <a:solidFill>
                  <a:schemeClr val="accent2">
                    <a:lumMod val="75000"/>
                  </a:schemeClr>
                </a:solidFill>
              </a:rPr>
              <a:t>الوقاية اللازمة ضّد الإصابة </a:t>
            </a:r>
            <a:r>
              <a:rPr lang="ar-SA" altLang="x-none" sz="1600" b="1" dirty="0" err="1">
                <a:solidFill>
                  <a:schemeClr val="accent2">
                    <a:lumMod val="75000"/>
                  </a:schemeClr>
                </a:solidFill>
              </a:rPr>
              <a:t>بالكورونا</a:t>
            </a:r>
            <a:r>
              <a:rPr lang="fr-FR" altLang="x-none" sz="16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ar-SA" altLang="x-none" sz="1600" b="1" dirty="0">
                <a:solidFill>
                  <a:schemeClr val="accent2">
                    <a:lumMod val="75000"/>
                  </a:schemeClr>
                </a:solidFill>
              </a:rPr>
              <a:t>لاستئناف العمل</a:t>
            </a:r>
            <a:br>
              <a:rPr lang="ar-SA" altLang="x-none" sz="1600" b="1" dirty="0">
                <a:solidFill>
                  <a:schemeClr val="accent2">
                    <a:lumMod val="75000"/>
                  </a:schemeClr>
                </a:solidFill>
              </a:rPr>
            </a:br>
            <a:endParaRPr lang="x-none" altLang="x-none" sz="1600" b="1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6" name="Doughnut 15">
            <a:extLst>
              <a:ext uri="{FF2B5EF4-FFF2-40B4-BE49-F238E27FC236}">
                <a16:creationId xmlns:a16="http://schemas.microsoft.com/office/drawing/2014/main" xmlns="" id="{F716C217-1386-6F4A-B92A-CE846E1C3786}"/>
              </a:ext>
            </a:extLst>
          </p:cNvPr>
          <p:cNvSpPr>
            <a:spLocks noChangeAspect="1"/>
          </p:cNvSpPr>
          <p:nvPr/>
        </p:nvSpPr>
        <p:spPr>
          <a:xfrm>
            <a:off x="8073184" y="2209706"/>
            <a:ext cx="864000" cy="864000"/>
          </a:xfrm>
          <a:prstGeom prst="donut">
            <a:avLst>
              <a:gd name="adj" fmla="val 742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/>
              </a:solidFill>
            </a:endParaRPr>
          </a:p>
        </p:txBody>
      </p:sp>
      <p:pic>
        <p:nvPicPr>
          <p:cNvPr id="13" name="Graphic 12" descr="Document">
            <a:extLst>
              <a:ext uri="{FF2B5EF4-FFF2-40B4-BE49-F238E27FC236}">
                <a16:creationId xmlns:a16="http://schemas.microsoft.com/office/drawing/2014/main" xmlns="" id="{85D91C9E-F15E-7244-A808-9279F82EAA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275826" y="2378900"/>
            <a:ext cx="525612" cy="525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8174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8A7C11D-B128-5D41-8D8D-6497D7AC2B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76538" y="2140343"/>
            <a:ext cx="5334900" cy="942600"/>
          </a:xfrm>
          <a:noFill/>
          <a:ln>
            <a:noFill/>
          </a:ln>
        </p:spPr>
        <p:txBody>
          <a:bodyPr spcFirstLastPara="1" vert="horz" wrap="square" lIns="68580" tIns="34290" rIns="68580" bIns="34290" rtlCol="0" anchor="ctr" anchorCtr="0">
            <a:normAutofit fontScale="97500"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buClr>
                <a:srgbClr val="000000"/>
              </a:buClr>
              <a:buSzPts val="10000"/>
              <a:buNone/>
            </a:pPr>
            <a:r>
              <a:rPr lang="ar-TN" sz="4800" b="1" kern="1200" dirty="0">
                <a:solidFill>
                  <a:schemeClr val="bg1"/>
                </a:solidFill>
                <a:sym typeface="Arial"/>
              </a:rPr>
              <a:t>القطاعات حسب المراحل</a:t>
            </a:r>
            <a:endParaRPr lang="x-none" sz="4800" b="1" kern="1200" dirty="0">
              <a:solidFill>
                <a:schemeClr val="bg1"/>
              </a:solidFill>
              <a:latin typeface="+mj-lt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221395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e 3"/>
          <p:cNvGraphicFramePr/>
          <p:nvPr>
            <p:extLst>
              <p:ext uri="{D42A27DB-BD31-4B8C-83A1-F6EECF244321}">
                <p14:modId xmlns:p14="http://schemas.microsoft.com/office/powerpoint/2010/main" val="1166544200"/>
              </p:ext>
            </p:extLst>
          </p:nvPr>
        </p:nvGraphicFramePr>
        <p:xfrm>
          <a:off x="89452" y="1337310"/>
          <a:ext cx="9054548" cy="35900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Rectangle 2"/>
          <p:cNvSpPr/>
          <p:nvPr/>
        </p:nvSpPr>
        <p:spPr>
          <a:xfrm>
            <a:off x="-281706" y="4332261"/>
            <a:ext cx="2016987" cy="439873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algn="r" rtl="1"/>
            <a:r>
              <a:rPr lang="ar-TN" sz="1600" dirty="0"/>
              <a:t>عقوبات متدرجة  بحسب مدى الالتزام بالإجراءات الصحية</a:t>
            </a: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ar-TN" b="1" dirty="0">
                <a:latin typeface="+mj-lt"/>
                <a:cs typeface="+mj-cs"/>
              </a:rPr>
              <a:t>أسس الاستراتيجية و آليات التنفيذ </a:t>
            </a:r>
            <a:endParaRPr lang="fr-FR" b="1" dirty="0">
              <a:latin typeface="+mj-lt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7561228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aradigm">
  <a:themeElements>
    <a:clrScheme name="Red">
      <a:dk1>
        <a:sysClr val="windowText" lastClr="000000"/>
      </a:dk1>
      <a:lt1>
        <a:sysClr val="window" lastClr="FFFFFF"/>
      </a:lt1>
      <a:dk2>
        <a:srgbClr val="323232"/>
      </a:dk2>
      <a:lt2>
        <a:srgbClr val="E5C243"/>
      </a:lt2>
      <a:accent1>
        <a:srgbClr val="A5300F"/>
      </a:accent1>
      <a:accent2>
        <a:srgbClr val="D55816"/>
      </a:accent2>
      <a:accent3>
        <a:srgbClr val="E19825"/>
      </a:accent3>
      <a:accent4>
        <a:srgbClr val="B19C7D"/>
      </a:accent4>
      <a:accent5>
        <a:srgbClr val="7F5F52"/>
      </a:accent5>
      <a:accent6>
        <a:srgbClr val="B27D49"/>
      </a:accent6>
      <a:hlink>
        <a:srgbClr val="6B9F25"/>
      </a:hlink>
      <a:folHlink>
        <a:srgbClr val="B26B0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212</TotalTime>
  <Words>1616</Words>
  <Application>Microsoft Office PowerPoint</Application>
  <PresentationFormat>Affichage à l'écran (16:9)</PresentationFormat>
  <Paragraphs>385</Paragraphs>
  <Slides>33</Slides>
  <Notes>13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3</vt:i4>
      </vt:variant>
    </vt:vector>
  </HeadingPairs>
  <TitlesOfParts>
    <vt:vector size="44" baseType="lpstr">
      <vt:lpstr>Times New Roman</vt:lpstr>
      <vt:lpstr>Helvetica</vt:lpstr>
      <vt:lpstr>inherit</vt:lpstr>
      <vt:lpstr>Arial</vt:lpstr>
      <vt:lpstr>Wingdings</vt:lpstr>
      <vt:lpstr>Arial</vt:lpstr>
      <vt:lpstr>Merriweather</vt:lpstr>
      <vt:lpstr>Calibri</vt:lpstr>
      <vt:lpstr>Roboto</vt:lpstr>
      <vt:lpstr>Paradigm</vt:lpstr>
      <vt:lpstr>think-cell Slide</vt:lpstr>
      <vt:lpstr>الاستراتيجية الوطنية للحجر الصحي الموجه</vt:lpstr>
      <vt:lpstr>المخطط </vt:lpstr>
      <vt:lpstr>المبادئ</vt:lpstr>
      <vt:lpstr>مقاربة استراتيجية الحجر الصحي الموجه</vt:lpstr>
      <vt:lpstr>الفئات المستثناة </vt:lpstr>
      <vt:lpstr>دليل  شروط السلامة </vt:lpstr>
      <vt:lpstr>  توجيهات الوقاية اللازمة ضّد الإصابة بالكورونا لاستئناف العمل  </vt:lpstr>
      <vt:lpstr>Présentation PowerPoint</vt:lpstr>
      <vt:lpstr>أسس الاستراتيجية و آليات التنفيذ </vt:lpstr>
      <vt:lpstr>رزنامة المراحل</vt:lpstr>
      <vt:lpstr>تدعيم القطاعات الحيوية</vt:lpstr>
      <vt:lpstr>ملخص المراحل</vt:lpstr>
      <vt:lpstr>المهن الصغرى المعنية بالمرحلة الأولى </vt:lpstr>
      <vt:lpstr>الأنشطة التجارية المعنية بالمرحلة الأولى  </vt:lpstr>
      <vt:lpstr>الخدمات و المهن الحرة</vt:lpstr>
      <vt:lpstr>القطاع الصناعي</vt:lpstr>
      <vt:lpstr>الأشغال العامة و البناء </vt:lpstr>
      <vt:lpstr>الوظيفة  العمومية و المنشآت  العمومية</vt:lpstr>
      <vt:lpstr>المسار الاجرائي</vt:lpstr>
      <vt:lpstr>المسار الاجرائي لاستئناف النشاط بالنسبة للشركات  </vt:lpstr>
      <vt:lpstr>المسار الاجرائي لاستئناف النشاط بالنسبة للمهن الصغرى  </vt:lpstr>
      <vt:lpstr>التطبيقات و مواقع الواب </vt:lpstr>
      <vt:lpstr>Présentation PowerPoint</vt:lpstr>
      <vt:lpstr>المبادئ الأساسية المقترحة من قبل معهد الصحة والسلامة</vt:lpstr>
      <vt:lpstr>أهم المعايير المقترحة من قبل معهد الصحة والسلامة ضمن مشروع كراس الشروط الخاص بالنقل</vt:lpstr>
      <vt:lpstr>Présentation PowerPoint</vt:lpstr>
      <vt:lpstr>مبادئ الحوكمة الاستراتيجية </vt:lpstr>
      <vt:lpstr>المراقبة و المتابعة </vt:lpstr>
      <vt:lpstr>المراقبة و المتابعة</vt:lpstr>
      <vt:lpstr> الالتزامات و شروط النجاح </vt:lpstr>
      <vt:lpstr>التزامات الأطراف</vt:lpstr>
      <vt:lpstr>شروط النجاح </vt:lpstr>
      <vt:lpstr>شكرا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XXXX dfdgfdghfj</dc:title>
  <dc:creator>Excel</dc:creator>
  <cp:lastModifiedBy>Mohsen Tiss</cp:lastModifiedBy>
  <cp:revision>249</cp:revision>
  <cp:lastPrinted>2020-04-29T09:47:36Z</cp:lastPrinted>
  <dcterms:modified xsi:type="dcterms:W3CDTF">2020-04-29T20:49:08Z</dcterms:modified>
</cp:coreProperties>
</file>